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ppt/tags/tag29.xml" ContentType="application/vnd.openxmlformats-officedocument.presentationml.tags+xml"/>
  <Override PartName="/ppt/notesSlides/notesSlide14.xml" ContentType="application/vnd.openxmlformats-officedocument.presentationml.notesSlide+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notesSlides/notesSlide18.xml" ContentType="application/vnd.openxmlformats-officedocument.presentationml.notesSlide+xml"/>
  <Override PartName="/ppt/tags/tag34.xml" ContentType="application/vnd.openxmlformats-officedocument.presentationml.tags+xml"/>
  <Override PartName="/ppt/notesSlides/notesSlide19.xml" ContentType="application/vnd.openxmlformats-officedocument.presentationml.notesSlide+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notesSlides/notesSlide22.xml" ContentType="application/vnd.openxmlformats-officedocument.presentationml.notesSlide+xml"/>
  <Override PartName="/ppt/tags/tag38.xml" ContentType="application/vnd.openxmlformats-officedocument.presentationml.tags+xml"/>
  <Override PartName="/ppt/notesSlides/notesSlide23.xml" ContentType="application/vnd.openxmlformats-officedocument.presentationml.notesSlide+xml"/>
  <Override PartName="/ppt/tags/tag39.xml" ContentType="application/vnd.openxmlformats-officedocument.presentationml.tags+xml"/>
  <Override PartName="/ppt/notesSlides/notesSlide24.xml" ContentType="application/vnd.openxmlformats-officedocument.presentationml.notesSlide+xml"/>
  <Override PartName="/ppt/tags/tag40.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908" r:id="rId4"/>
  </p:sldMasterIdLst>
  <p:notesMasterIdLst>
    <p:notesMasterId r:id="rId30"/>
  </p:notesMasterIdLst>
  <p:sldIdLst>
    <p:sldId id="2147376558" r:id="rId5"/>
    <p:sldId id="2147376594" r:id="rId6"/>
    <p:sldId id="2147376559" r:id="rId7"/>
    <p:sldId id="2147376574" r:id="rId8"/>
    <p:sldId id="2147376542" r:id="rId9"/>
    <p:sldId id="2147376549" r:id="rId10"/>
    <p:sldId id="2147376568" r:id="rId11"/>
    <p:sldId id="2147376546" r:id="rId12"/>
    <p:sldId id="2147376575" r:id="rId13"/>
    <p:sldId id="2147376596" r:id="rId14"/>
    <p:sldId id="2147376544" r:id="rId15"/>
    <p:sldId id="2147376607" r:id="rId16"/>
    <p:sldId id="2147376567" r:id="rId17"/>
    <p:sldId id="2147376577" r:id="rId18"/>
    <p:sldId id="2147376547" r:id="rId19"/>
    <p:sldId id="2147376571" r:id="rId20"/>
    <p:sldId id="2147376582" r:id="rId21"/>
    <p:sldId id="2147376560" r:id="rId22"/>
    <p:sldId id="2147376562" r:id="rId23"/>
    <p:sldId id="2147376563" r:id="rId24"/>
    <p:sldId id="2147376564" r:id="rId25"/>
    <p:sldId id="2147376614" r:id="rId26"/>
    <p:sldId id="2147376612" r:id="rId27"/>
    <p:sldId id="2147376613" r:id="rId28"/>
    <p:sldId id="2147376551" r:id="rId29"/>
  </p:sldIdLst>
  <p:sldSz cx="9906000" cy="6858000" type="A4"/>
  <p:notesSz cx="6807200" cy="9939338"/>
  <p:custDataLst>
    <p:tags r:id="rId31"/>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既定のセクション" id="{5167E71F-08B6-4327-87CE-D919A3B970C2}">
          <p14:sldIdLst>
            <p14:sldId id="2147376558"/>
            <p14:sldId id="2147376594"/>
            <p14:sldId id="2147376559"/>
            <p14:sldId id="2147376574"/>
            <p14:sldId id="2147376542"/>
            <p14:sldId id="2147376549"/>
            <p14:sldId id="2147376568"/>
            <p14:sldId id="2147376546"/>
            <p14:sldId id="2147376575"/>
            <p14:sldId id="2147376596"/>
            <p14:sldId id="2147376544"/>
            <p14:sldId id="2147376607"/>
            <p14:sldId id="2147376567"/>
            <p14:sldId id="2147376577"/>
            <p14:sldId id="2147376547"/>
            <p14:sldId id="2147376571"/>
            <p14:sldId id="2147376582"/>
            <p14:sldId id="2147376560"/>
            <p14:sldId id="2147376562"/>
            <p14:sldId id="2147376563"/>
            <p14:sldId id="2147376564"/>
            <p14:sldId id="2147376614"/>
            <p14:sldId id="2147376612"/>
            <p14:sldId id="2147376613"/>
            <p14:sldId id="2147376551"/>
          </p14:sldIdLst>
        </p14:section>
        <p14:section name="EOF" id="{ED2D36E1-AF83-4926-95CE-BC2FB9E4CBCD}">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山田　健人" initials="山田　健人" lastIdx="15" clrIdx="0">
    <p:extLst>
      <p:ext uri="{19B8F6BF-5375-455C-9EA6-DF929625EA0E}">
        <p15:presenceInfo xmlns:p15="http://schemas.microsoft.com/office/powerpoint/2012/main" userId="S-1-5-21-2584162954-2024034027-3327744939-316696" providerId="AD"/>
      </p:ext>
    </p:extLst>
  </p:cmAuthor>
  <p:cmAuthor id="2" name="瀧　佳那子" initials="瀧　佳那子" lastIdx="1" clrIdx="1">
    <p:extLst>
      <p:ext uri="{19B8F6BF-5375-455C-9EA6-DF929625EA0E}">
        <p15:presenceInfo xmlns:p15="http://schemas.microsoft.com/office/powerpoint/2012/main" userId="S-1-5-21-2584162954-2024034027-3327744939-5427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F2F2F2"/>
    <a:srgbClr val="FFFF00"/>
    <a:srgbClr val="BCEBFF"/>
    <a:srgbClr val="FF0000"/>
    <a:srgbClr val="FFC410"/>
    <a:srgbClr val="0070C0"/>
    <a:srgbClr val="FFFFFF"/>
    <a:srgbClr val="CDCDCD"/>
    <a:srgbClr val="BEF3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スタイル (濃色)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6" d="100"/>
          <a:sy n="116" d="100"/>
        </p:scale>
        <p:origin x="642"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gi, Riku" userId="092f3030-7069-45a1-8a72-8208e6901431" providerId="ADAL" clId="{09FB6AC7-6CCB-4227-9F16-F60C5529EF99}"/>
    <pc:docChg chg="undo custSel addSld modSld sldOrd modSection">
      <pc:chgData name="Yagi, Riku" userId="092f3030-7069-45a1-8a72-8208e6901431" providerId="ADAL" clId="{09FB6AC7-6CCB-4227-9F16-F60C5529EF99}" dt="2023-05-08T13:40:27.784" v="502" actId="20577"/>
      <pc:docMkLst>
        <pc:docMk/>
      </pc:docMkLst>
      <pc:sldChg chg="modSp mod">
        <pc:chgData name="Yagi, Riku" userId="092f3030-7069-45a1-8a72-8208e6901431" providerId="ADAL" clId="{09FB6AC7-6CCB-4227-9F16-F60C5529EF99}" dt="2023-05-08T12:59:46.385" v="252" actId="20577"/>
        <pc:sldMkLst>
          <pc:docMk/>
          <pc:sldMk cId="3117319284" sldId="2147376551"/>
        </pc:sldMkLst>
        <pc:spChg chg="mod">
          <ac:chgData name="Yagi, Riku" userId="092f3030-7069-45a1-8a72-8208e6901431" providerId="ADAL" clId="{09FB6AC7-6CCB-4227-9F16-F60C5529EF99}" dt="2023-05-08T12:59:46.385" v="252" actId="20577"/>
          <ac:spMkLst>
            <pc:docMk/>
            <pc:sldMk cId="3117319284" sldId="2147376551"/>
            <ac:spMk id="4" creationId="{6D770DF6-F588-40B0-808A-BF9058AD3D5C}"/>
          </ac:spMkLst>
        </pc:spChg>
      </pc:sldChg>
      <pc:sldChg chg="modSp mod">
        <pc:chgData name="Yagi, Riku" userId="092f3030-7069-45a1-8a72-8208e6901431" providerId="ADAL" clId="{09FB6AC7-6CCB-4227-9F16-F60C5529EF99}" dt="2023-05-08T12:58:25.822" v="237" actId="20577"/>
        <pc:sldMkLst>
          <pc:docMk/>
          <pc:sldMk cId="1902198402" sldId="2147376564"/>
        </pc:sldMkLst>
        <pc:spChg chg="mod">
          <ac:chgData name="Yagi, Riku" userId="092f3030-7069-45a1-8a72-8208e6901431" providerId="ADAL" clId="{09FB6AC7-6CCB-4227-9F16-F60C5529EF99}" dt="2023-05-08T12:58:25.822" v="237" actId="20577"/>
          <ac:spMkLst>
            <pc:docMk/>
            <pc:sldMk cId="1902198402" sldId="2147376564"/>
            <ac:spMk id="3" creationId="{68BE5464-CD44-45B3-B638-1E6B2208C6E5}"/>
          </ac:spMkLst>
        </pc:spChg>
      </pc:sldChg>
      <pc:sldChg chg="modSp mod">
        <pc:chgData name="Yagi, Riku" userId="092f3030-7069-45a1-8a72-8208e6901431" providerId="ADAL" clId="{09FB6AC7-6CCB-4227-9F16-F60C5529EF99}" dt="2023-05-08T12:11:02.343" v="22" actId="20577"/>
        <pc:sldMkLst>
          <pc:docMk/>
          <pc:sldMk cId="4094569849" sldId="2147376567"/>
        </pc:sldMkLst>
        <pc:spChg chg="mod">
          <ac:chgData name="Yagi, Riku" userId="092f3030-7069-45a1-8a72-8208e6901431" providerId="ADAL" clId="{09FB6AC7-6CCB-4227-9F16-F60C5529EF99}" dt="2023-05-08T12:10:59.949" v="12" actId="20577"/>
          <ac:spMkLst>
            <pc:docMk/>
            <pc:sldMk cId="4094569849" sldId="2147376567"/>
            <ac:spMk id="15" creationId="{C583AC29-FFDA-47D4-AB54-DDA276DB9339}"/>
          </ac:spMkLst>
        </pc:spChg>
        <pc:spChg chg="mod">
          <ac:chgData name="Yagi, Riku" userId="092f3030-7069-45a1-8a72-8208e6901431" providerId="ADAL" clId="{09FB6AC7-6CCB-4227-9F16-F60C5529EF99}" dt="2023-05-08T12:11:02.343" v="22" actId="20577"/>
          <ac:spMkLst>
            <pc:docMk/>
            <pc:sldMk cId="4094569849" sldId="2147376567"/>
            <ac:spMk id="26" creationId="{FC392F22-C624-40E3-AA68-A538900D7E47}"/>
          </ac:spMkLst>
        </pc:spChg>
      </pc:sldChg>
      <pc:sldChg chg="modSp mod">
        <pc:chgData name="Yagi, Riku" userId="092f3030-7069-45a1-8a72-8208e6901431" providerId="ADAL" clId="{09FB6AC7-6CCB-4227-9F16-F60C5529EF99}" dt="2023-05-08T12:16:33.195" v="63" actId="20577"/>
        <pc:sldMkLst>
          <pc:docMk/>
          <pc:sldMk cId="1434538154" sldId="2147376571"/>
        </pc:sldMkLst>
        <pc:spChg chg="mod">
          <ac:chgData name="Yagi, Riku" userId="092f3030-7069-45a1-8a72-8208e6901431" providerId="ADAL" clId="{09FB6AC7-6CCB-4227-9F16-F60C5529EF99}" dt="2023-05-08T12:16:33.195" v="63" actId="20577"/>
          <ac:spMkLst>
            <pc:docMk/>
            <pc:sldMk cId="1434538154" sldId="2147376571"/>
            <ac:spMk id="8" creationId="{EF6218F6-959A-4559-B935-011209810466}"/>
          </ac:spMkLst>
        </pc:spChg>
      </pc:sldChg>
      <pc:sldChg chg="modSp mod">
        <pc:chgData name="Yagi, Riku" userId="092f3030-7069-45a1-8a72-8208e6901431" providerId="ADAL" clId="{09FB6AC7-6CCB-4227-9F16-F60C5529EF99}" dt="2023-05-08T12:16:38.284" v="65" actId="20577"/>
        <pc:sldMkLst>
          <pc:docMk/>
          <pc:sldMk cId="1888080531" sldId="2147376573"/>
        </pc:sldMkLst>
        <pc:spChg chg="mod">
          <ac:chgData name="Yagi, Riku" userId="092f3030-7069-45a1-8a72-8208e6901431" providerId="ADAL" clId="{09FB6AC7-6CCB-4227-9F16-F60C5529EF99}" dt="2023-05-08T12:16:38.284" v="65" actId="20577"/>
          <ac:spMkLst>
            <pc:docMk/>
            <pc:sldMk cId="1888080531" sldId="2147376573"/>
            <ac:spMk id="27" creationId="{7F2A3E3D-C6D8-429C-9B9C-0D0EB10D4360}"/>
          </ac:spMkLst>
        </pc:spChg>
      </pc:sldChg>
      <pc:sldChg chg="modSp mod">
        <pc:chgData name="Yagi, Riku" userId="092f3030-7069-45a1-8a72-8208e6901431" providerId="ADAL" clId="{09FB6AC7-6CCB-4227-9F16-F60C5529EF99}" dt="2023-05-08T12:16:48.719" v="69" actId="20577"/>
        <pc:sldMkLst>
          <pc:docMk/>
          <pc:sldMk cId="3298366041" sldId="2147376582"/>
        </pc:sldMkLst>
        <pc:spChg chg="mod">
          <ac:chgData name="Yagi, Riku" userId="092f3030-7069-45a1-8a72-8208e6901431" providerId="ADAL" clId="{09FB6AC7-6CCB-4227-9F16-F60C5529EF99}" dt="2023-05-08T12:16:48.719" v="69" actId="20577"/>
          <ac:spMkLst>
            <pc:docMk/>
            <pc:sldMk cId="3298366041" sldId="2147376582"/>
            <ac:spMk id="9" creationId="{561C2B30-68C3-46DC-B269-68272980BA22}"/>
          </ac:spMkLst>
        </pc:spChg>
      </pc:sldChg>
      <pc:sldChg chg="modSp mod">
        <pc:chgData name="Yagi, Riku" userId="092f3030-7069-45a1-8a72-8208e6901431" providerId="ADAL" clId="{09FB6AC7-6CCB-4227-9F16-F60C5529EF99}" dt="2023-05-08T12:16:44.270" v="67" actId="20577"/>
        <pc:sldMkLst>
          <pc:docMk/>
          <pc:sldMk cId="79892892" sldId="2147376593"/>
        </pc:sldMkLst>
        <pc:spChg chg="mod">
          <ac:chgData name="Yagi, Riku" userId="092f3030-7069-45a1-8a72-8208e6901431" providerId="ADAL" clId="{09FB6AC7-6CCB-4227-9F16-F60C5529EF99}" dt="2023-05-08T12:16:44.270" v="67" actId="20577"/>
          <ac:spMkLst>
            <pc:docMk/>
            <pc:sldMk cId="79892892" sldId="2147376593"/>
            <ac:spMk id="19" creationId="{A090CBCA-EA28-4A22-ABDA-01951F81BF31}"/>
          </ac:spMkLst>
        </pc:spChg>
      </pc:sldChg>
      <pc:sldChg chg="addSp modSp add mod">
        <pc:chgData name="Yagi, Riku" userId="092f3030-7069-45a1-8a72-8208e6901431" providerId="ADAL" clId="{09FB6AC7-6CCB-4227-9F16-F60C5529EF99}" dt="2023-05-08T12:58:43.227" v="239"/>
        <pc:sldMkLst>
          <pc:docMk/>
          <pc:sldMk cId="525663554" sldId="2147376612"/>
        </pc:sldMkLst>
        <pc:spChg chg="mod">
          <ac:chgData name="Yagi, Riku" userId="092f3030-7069-45a1-8a72-8208e6901431" providerId="ADAL" clId="{09FB6AC7-6CCB-4227-9F16-F60C5529EF99}" dt="2023-05-08T12:58:43.227" v="239"/>
          <ac:spMkLst>
            <pc:docMk/>
            <pc:sldMk cId="525663554" sldId="2147376612"/>
            <ac:spMk id="3" creationId="{68BE5464-CD44-45B3-B638-1E6B2208C6E5}"/>
          </ac:spMkLst>
        </pc:spChg>
        <pc:spChg chg="add mod">
          <ac:chgData name="Yagi, Riku" userId="092f3030-7069-45a1-8a72-8208e6901431" providerId="ADAL" clId="{09FB6AC7-6CCB-4227-9F16-F60C5529EF99}" dt="2023-05-08T12:54:58.112" v="194" actId="1076"/>
          <ac:spMkLst>
            <pc:docMk/>
            <pc:sldMk cId="525663554" sldId="2147376612"/>
            <ac:spMk id="53" creationId="{262D6AF5-7B1E-40BE-84A4-632E968827F6}"/>
          </ac:spMkLst>
        </pc:spChg>
      </pc:sldChg>
      <pc:sldChg chg="modSp add mod">
        <pc:chgData name="Yagi, Riku" userId="092f3030-7069-45a1-8a72-8208e6901431" providerId="ADAL" clId="{09FB6AC7-6CCB-4227-9F16-F60C5529EF99}" dt="2023-05-08T12:58:46.525" v="240"/>
        <pc:sldMkLst>
          <pc:docMk/>
          <pc:sldMk cId="2036497452" sldId="2147376613"/>
        </pc:sldMkLst>
        <pc:spChg chg="mod">
          <ac:chgData name="Yagi, Riku" userId="092f3030-7069-45a1-8a72-8208e6901431" providerId="ADAL" clId="{09FB6AC7-6CCB-4227-9F16-F60C5529EF99}" dt="2023-05-08T12:58:46.525" v="240"/>
          <ac:spMkLst>
            <pc:docMk/>
            <pc:sldMk cId="2036497452" sldId="2147376613"/>
            <ac:spMk id="3" creationId="{68BE5464-CD44-45B3-B638-1E6B2208C6E5}"/>
          </ac:spMkLst>
        </pc:spChg>
        <pc:spChg chg="mod">
          <ac:chgData name="Yagi, Riku" userId="092f3030-7069-45a1-8a72-8208e6901431" providerId="ADAL" clId="{09FB6AC7-6CCB-4227-9F16-F60C5529EF99}" dt="2023-05-08T12:55:02.577" v="197" actId="20577"/>
          <ac:spMkLst>
            <pc:docMk/>
            <pc:sldMk cId="2036497452" sldId="2147376613"/>
            <ac:spMk id="53" creationId="{262D6AF5-7B1E-40BE-84A4-632E968827F6}"/>
          </ac:spMkLst>
        </pc:spChg>
      </pc:sldChg>
      <pc:sldChg chg="modSp add mod ord">
        <pc:chgData name="Yagi, Riku" userId="092f3030-7069-45a1-8a72-8208e6901431" providerId="ADAL" clId="{09FB6AC7-6CCB-4227-9F16-F60C5529EF99}" dt="2023-05-08T12:58:40.324" v="238"/>
        <pc:sldMkLst>
          <pc:docMk/>
          <pc:sldMk cId="4119966295" sldId="2147376614"/>
        </pc:sldMkLst>
        <pc:spChg chg="mod">
          <ac:chgData name="Yagi, Riku" userId="092f3030-7069-45a1-8a72-8208e6901431" providerId="ADAL" clId="{09FB6AC7-6CCB-4227-9F16-F60C5529EF99}" dt="2023-05-08T12:58:40.324" v="238"/>
          <ac:spMkLst>
            <pc:docMk/>
            <pc:sldMk cId="4119966295" sldId="2147376614"/>
            <ac:spMk id="3" creationId="{68BE5464-CD44-45B3-B638-1E6B2208C6E5}"/>
          </ac:spMkLst>
        </pc:spChg>
        <pc:spChg chg="mod">
          <ac:chgData name="Yagi, Riku" userId="092f3030-7069-45a1-8a72-8208e6901431" providerId="ADAL" clId="{09FB6AC7-6CCB-4227-9F16-F60C5529EF99}" dt="2023-05-08T12:55:16.281" v="201"/>
          <ac:spMkLst>
            <pc:docMk/>
            <pc:sldMk cId="4119966295" sldId="2147376614"/>
            <ac:spMk id="53" creationId="{262D6AF5-7B1E-40BE-84A4-632E968827F6}"/>
          </ac:spMkLst>
        </pc:spChg>
      </pc:sldChg>
      <pc:sldChg chg="addSp delSp modSp add mod ord">
        <pc:chgData name="Yagi, Riku" userId="092f3030-7069-45a1-8a72-8208e6901431" providerId="ADAL" clId="{09FB6AC7-6CCB-4227-9F16-F60C5529EF99}" dt="2023-05-08T13:40:27.784" v="502" actId="20577"/>
        <pc:sldMkLst>
          <pc:docMk/>
          <pc:sldMk cId="1305537022" sldId="2147376615"/>
        </pc:sldMkLst>
        <pc:spChg chg="add del mod">
          <ac:chgData name="Yagi, Riku" userId="092f3030-7069-45a1-8a72-8208e6901431" providerId="ADAL" clId="{09FB6AC7-6CCB-4227-9F16-F60C5529EF99}" dt="2023-05-08T13:35:49.355" v="329" actId="478"/>
          <ac:spMkLst>
            <pc:docMk/>
            <pc:sldMk cId="1305537022" sldId="2147376615"/>
            <ac:spMk id="44" creationId="{1D66CC90-6262-4375-8FE4-4481F7E245F3}"/>
          </ac:spMkLst>
        </pc:spChg>
        <pc:spChg chg="add del mod">
          <ac:chgData name="Yagi, Riku" userId="092f3030-7069-45a1-8a72-8208e6901431" providerId="ADAL" clId="{09FB6AC7-6CCB-4227-9F16-F60C5529EF99}" dt="2023-05-08T13:35:49.355" v="329" actId="478"/>
          <ac:spMkLst>
            <pc:docMk/>
            <pc:sldMk cId="1305537022" sldId="2147376615"/>
            <ac:spMk id="45" creationId="{ED19A0BD-394E-4A1E-AF4E-25578FD01EFB}"/>
          </ac:spMkLst>
        </pc:spChg>
        <pc:spChg chg="add del mod">
          <ac:chgData name="Yagi, Riku" userId="092f3030-7069-45a1-8a72-8208e6901431" providerId="ADAL" clId="{09FB6AC7-6CCB-4227-9F16-F60C5529EF99}" dt="2023-05-08T13:35:49.355" v="329" actId="478"/>
          <ac:spMkLst>
            <pc:docMk/>
            <pc:sldMk cId="1305537022" sldId="2147376615"/>
            <ac:spMk id="46" creationId="{5C251851-3A45-451A-BCE1-03C5B34881FC}"/>
          </ac:spMkLst>
        </pc:spChg>
        <pc:spChg chg="add del mod">
          <ac:chgData name="Yagi, Riku" userId="092f3030-7069-45a1-8a72-8208e6901431" providerId="ADAL" clId="{09FB6AC7-6CCB-4227-9F16-F60C5529EF99}" dt="2023-05-08T13:35:49.355" v="329" actId="478"/>
          <ac:spMkLst>
            <pc:docMk/>
            <pc:sldMk cId="1305537022" sldId="2147376615"/>
            <ac:spMk id="47" creationId="{8B4B98A9-9484-47CC-94D4-3E07DED639A8}"/>
          </ac:spMkLst>
        </pc:spChg>
        <pc:spChg chg="add del mod">
          <ac:chgData name="Yagi, Riku" userId="092f3030-7069-45a1-8a72-8208e6901431" providerId="ADAL" clId="{09FB6AC7-6CCB-4227-9F16-F60C5529EF99}" dt="2023-05-08T13:35:49.355" v="329" actId="478"/>
          <ac:spMkLst>
            <pc:docMk/>
            <pc:sldMk cId="1305537022" sldId="2147376615"/>
            <ac:spMk id="48" creationId="{0ACCB629-C51B-43BE-93F5-AD99E387BFA4}"/>
          </ac:spMkLst>
        </pc:spChg>
        <pc:spChg chg="add del mod">
          <ac:chgData name="Yagi, Riku" userId="092f3030-7069-45a1-8a72-8208e6901431" providerId="ADAL" clId="{09FB6AC7-6CCB-4227-9F16-F60C5529EF99}" dt="2023-05-08T13:35:49.355" v="329" actId="478"/>
          <ac:spMkLst>
            <pc:docMk/>
            <pc:sldMk cId="1305537022" sldId="2147376615"/>
            <ac:spMk id="49" creationId="{621800F3-D42B-417C-90E8-1587745A49E1}"/>
          </ac:spMkLst>
        </pc:spChg>
        <pc:spChg chg="add del mod">
          <ac:chgData name="Yagi, Riku" userId="092f3030-7069-45a1-8a72-8208e6901431" providerId="ADAL" clId="{09FB6AC7-6CCB-4227-9F16-F60C5529EF99}" dt="2023-05-08T13:35:49.355" v="329" actId="478"/>
          <ac:spMkLst>
            <pc:docMk/>
            <pc:sldMk cId="1305537022" sldId="2147376615"/>
            <ac:spMk id="50" creationId="{8AA460BB-E5B0-4978-B8F0-F85A5D198A86}"/>
          </ac:spMkLst>
        </pc:spChg>
        <pc:spChg chg="add mod">
          <ac:chgData name="Yagi, Riku" userId="092f3030-7069-45a1-8a72-8208e6901431" providerId="ADAL" clId="{09FB6AC7-6CCB-4227-9F16-F60C5529EF99}" dt="2023-05-08T13:38:26.388" v="407" actId="571"/>
          <ac:spMkLst>
            <pc:docMk/>
            <pc:sldMk cId="1305537022" sldId="2147376615"/>
            <ac:spMk id="51" creationId="{3ADC8B6A-B1AE-49BA-ABA0-157A24226B09}"/>
          </ac:spMkLst>
        </pc:spChg>
        <pc:spChg chg="add mod">
          <ac:chgData name="Yagi, Riku" userId="092f3030-7069-45a1-8a72-8208e6901431" providerId="ADAL" clId="{09FB6AC7-6CCB-4227-9F16-F60C5529EF99}" dt="2023-05-08T13:38:26.388" v="407" actId="571"/>
          <ac:spMkLst>
            <pc:docMk/>
            <pc:sldMk cId="1305537022" sldId="2147376615"/>
            <ac:spMk id="52" creationId="{FEFC2800-C0F2-4F4E-8E4A-CD329ECF2B4E}"/>
          </ac:spMkLst>
        </pc:spChg>
        <pc:spChg chg="add mod">
          <ac:chgData name="Yagi, Riku" userId="092f3030-7069-45a1-8a72-8208e6901431" providerId="ADAL" clId="{09FB6AC7-6CCB-4227-9F16-F60C5529EF99}" dt="2023-05-08T13:38:26.388" v="407" actId="571"/>
          <ac:spMkLst>
            <pc:docMk/>
            <pc:sldMk cId="1305537022" sldId="2147376615"/>
            <ac:spMk id="53" creationId="{749139F1-38E7-47C5-AF73-65E4889B7734}"/>
          </ac:spMkLst>
        </pc:spChg>
        <pc:spChg chg="add mod">
          <ac:chgData name="Yagi, Riku" userId="092f3030-7069-45a1-8a72-8208e6901431" providerId="ADAL" clId="{09FB6AC7-6CCB-4227-9F16-F60C5529EF99}" dt="2023-05-08T13:38:28.945" v="409" actId="571"/>
          <ac:spMkLst>
            <pc:docMk/>
            <pc:sldMk cId="1305537022" sldId="2147376615"/>
            <ac:spMk id="54" creationId="{077FA773-8750-4A42-A2EA-F54B458E4D3F}"/>
          </ac:spMkLst>
        </pc:spChg>
        <pc:spChg chg="add mod">
          <ac:chgData name="Yagi, Riku" userId="092f3030-7069-45a1-8a72-8208e6901431" providerId="ADAL" clId="{09FB6AC7-6CCB-4227-9F16-F60C5529EF99}" dt="2023-05-08T13:38:28.945" v="409" actId="571"/>
          <ac:spMkLst>
            <pc:docMk/>
            <pc:sldMk cId="1305537022" sldId="2147376615"/>
            <ac:spMk id="55" creationId="{22F62B91-EA67-4A36-8F82-4FAE8A1F0822}"/>
          </ac:spMkLst>
        </pc:spChg>
        <pc:spChg chg="add mod">
          <ac:chgData name="Yagi, Riku" userId="092f3030-7069-45a1-8a72-8208e6901431" providerId="ADAL" clId="{09FB6AC7-6CCB-4227-9F16-F60C5529EF99}" dt="2023-05-08T13:38:28.945" v="409" actId="571"/>
          <ac:spMkLst>
            <pc:docMk/>
            <pc:sldMk cId="1305537022" sldId="2147376615"/>
            <ac:spMk id="56" creationId="{3EA6B9FD-7039-4078-AA6F-86CF79FD2629}"/>
          </ac:spMkLst>
        </pc:spChg>
        <pc:spChg chg="add mod">
          <ac:chgData name="Yagi, Riku" userId="092f3030-7069-45a1-8a72-8208e6901431" providerId="ADAL" clId="{09FB6AC7-6CCB-4227-9F16-F60C5529EF99}" dt="2023-05-08T13:38:28.945" v="409" actId="571"/>
          <ac:spMkLst>
            <pc:docMk/>
            <pc:sldMk cId="1305537022" sldId="2147376615"/>
            <ac:spMk id="57" creationId="{EDD0635A-1B50-4ABA-A2BB-0EA0A20FE745}"/>
          </ac:spMkLst>
        </pc:spChg>
        <pc:spChg chg="mod">
          <ac:chgData name="Yagi, Riku" userId="092f3030-7069-45a1-8a72-8208e6901431" providerId="ADAL" clId="{09FB6AC7-6CCB-4227-9F16-F60C5529EF99}" dt="2023-05-08T13:40:27.784" v="502" actId="20577"/>
          <ac:spMkLst>
            <pc:docMk/>
            <pc:sldMk cId="1305537022" sldId="2147376615"/>
            <ac:spMk id="74" creationId="{A107C216-38BF-4FFC-90D4-F96D5C58698B}"/>
          </ac:spMkLst>
        </pc:spChg>
        <pc:spChg chg="del">
          <ac:chgData name="Yagi, Riku" userId="092f3030-7069-45a1-8a72-8208e6901431" providerId="ADAL" clId="{09FB6AC7-6CCB-4227-9F16-F60C5529EF99}" dt="2023-05-08T13:35:55.326" v="331" actId="478"/>
          <ac:spMkLst>
            <pc:docMk/>
            <pc:sldMk cId="1305537022" sldId="2147376615"/>
            <ac:spMk id="191" creationId="{FA0183A3-AA37-44AB-9A0E-8E21A0FAAE0F}"/>
          </ac:spMkLst>
        </pc:spChg>
        <pc:spChg chg="del">
          <ac:chgData name="Yagi, Riku" userId="092f3030-7069-45a1-8a72-8208e6901431" providerId="ADAL" clId="{09FB6AC7-6CCB-4227-9F16-F60C5529EF99}" dt="2023-05-08T13:35:55.326" v="331" actId="478"/>
          <ac:spMkLst>
            <pc:docMk/>
            <pc:sldMk cId="1305537022" sldId="2147376615"/>
            <ac:spMk id="192" creationId="{9FE8701A-3DA3-46C6-BA2F-54928CDB5363}"/>
          </ac:spMkLst>
        </pc:spChg>
        <pc:spChg chg="mod">
          <ac:chgData name="Yagi, Riku" userId="092f3030-7069-45a1-8a72-8208e6901431" providerId="ADAL" clId="{09FB6AC7-6CCB-4227-9F16-F60C5529EF99}" dt="2023-05-08T13:38:53.480" v="415" actId="12788"/>
          <ac:spMkLst>
            <pc:docMk/>
            <pc:sldMk cId="1305537022" sldId="2147376615"/>
            <ac:spMk id="193" creationId="{373CD2B5-3170-4540-B61A-90F8E8B48075}"/>
          </ac:spMkLst>
        </pc:spChg>
        <pc:spChg chg="del">
          <ac:chgData name="Yagi, Riku" userId="092f3030-7069-45a1-8a72-8208e6901431" providerId="ADAL" clId="{09FB6AC7-6CCB-4227-9F16-F60C5529EF99}" dt="2023-05-08T13:35:44.542" v="327" actId="478"/>
          <ac:spMkLst>
            <pc:docMk/>
            <pc:sldMk cId="1305537022" sldId="2147376615"/>
            <ac:spMk id="201" creationId="{A21BC1B0-1BF2-499B-B3DB-855E06C5130B}"/>
          </ac:spMkLst>
        </pc:spChg>
        <pc:spChg chg="del">
          <ac:chgData name="Yagi, Riku" userId="092f3030-7069-45a1-8a72-8208e6901431" providerId="ADAL" clId="{09FB6AC7-6CCB-4227-9F16-F60C5529EF99}" dt="2023-05-08T13:35:44.542" v="327" actId="478"/>
          <ac:spMkLst>
            <pc:docMk/>
            <pc:sldMk cId="1305537022" sldId="2147376615"/>
            <ac:spMk id="202" creationId="{603A52D3-EEED-4983-BED6-4BCA33642721}"/>
          </ac:spMkLst>
        </pc:spChg>
        <pc:spChg chg="del">
          <ac:chgData name="Yagi, Riku" userId="092f3030-7069-45a1-8a72-8208e6901431" providerId="ADAL" clId="{09FB6AC7-6CCB-4227-9F16-F60C5529EF99}" dt="2023-05-08T13:35:44.542" v="327" actId="478"/>
          <ac:spMkLst>
            <pc:docMk/>
            <pc:sldMk cId="1305537022" sldId="2147376615"/>
            <ac:spMk id="209" creationId="{A22FC74C-6E38-4709-BA1E-7191E41B98D1}"/>
          </ac:spMkLst>
        </pc:spChg>
        <pc:spChg chg="del">
          <ac:chgData name="Yagi, Riku" userId="092f3030-7069-45a1-8a72-8208e6901431" providerId="ADAL" clId="{09FB6AC7-6CCB-4227-9F16-F60C5529EF99}" dt="2023-05-08T13:35:44.542" v="327" actId="478"/>
          <ac:spMkLst>
            <pc:docMk/>
            <pc:sldMk cId="1305537022" sldId="2147376615"/>
            <ac:spMk id="211" creationId="{DB1FE66B-519C-4DB8-AEE0-5343D3DBB579}"/>
          </ac:spMkLst>
        </pc:spChg>
        <pc:spChg chg="del">
          <ac:chgData name="Yagi, Riku" userId="092f3030-7069-45a1-8a72-8208e6901431" providerId="ADAL" clId="{09FB6AC7-6CCB-4227-9F16-F60C5529EF99}" dt="2023-05-08T13:35:44.542" v="327" actId="478"/>
          <ac:spMkLst>
            <pc:docMk/>
            <pc:sldMk cId="1305537022" sldId="2147376615"/>
            <ac:spMk id="213" creationId="{4D2EC2E7-ED30-4484-87FF-945921BD7A6D}"/>
          </ac:spMkLst>
        </pc:spChg>
        <pc:spChg chg="del">
          <ac:chgData name="Yagi, Riku" userId="092f3030-7069-45a1-8a72-8208e6901431" providerId="ADAL" clId="{09FB6AC7-6CCB-4227-9F16-F60C5529EF99}" dt="2023-05-08T13:35:44.542" v="327" actId="478"/>
          <ac:spMkLst>
            <pc:docMk/>
            <pc:sldMk cId="1305537022" sldId="2147376615"/>
            <ac:spMk id="215" creationId="{527A6887-3D33-4FDD-A1E8-04B42E553D65}"/>
          </ac:spMkLst>
        </pc:spChg>
        <pc:spChg chg="del">
          <ac:chgData name="Yagi, Riku" userId="092f3030-7069-45a1-8a72-8208e6901431" providerId="ADAL" clId="{09FB6AC7-6CCB-4227-9F16-F60C5529EF99}" dt="2023-05-08T13:35:44.542" v="327" actId="478"/>
          <ac:spMkLst>
            <pc:docMk/>
            <pc:sldMk cId="1305537022" sldId="2147376615"/>
            <ac:spMk id="217" creationId="{F3552857-B699-4252-A8E1-4704F99A5FBC}"/>
          </ac:spMkLst>
        </pc:spChg>
        <pc:spChg chg="mod">
          <ac:chgData name="Yagi, Riku" userId="092f3030-7069-45a1-8a72-8208e6901431" providerId="ADAL" clId="{09FB6AC7-6CCB-4227-9F16-F60C5529EF99}" dt="2023-05-08T13:38:48.254" v="413" actId="14100"/>
          <ac:spMkLst>
            <pc:docMk/>
            <pc:sldMk cId="1305537022" sldId="2147376615"/>
            <ac:spMk id="229" creationId="{8CC325E7-6CB7-4D5C-8C74-0E3020A3F69A}"/>
          </ac:spMkLst>
        </pc:spChg>
        <pc:spChg chg="mod">
          <ac:chgData name="Yagi, Riku" userId="092f3030-7069-45a1-8a72-8208e6901431" providerId="ADAL" clId="{09FB6AC7-6CCB-4227-9F16-F60C5529EF99}" dt="2023-05-08T13:38:48.254" v="413" actId="14100"/>
          <ac:spMkLst>
            <pc:docMk/>
            <pc:sldMk cId="1305537022" sldId="2147376615"/>
            <ac:spMk id="230" creationId="{FEBC075A-E44D-4F75-9BB0-08A3D33C0CF3}"/>
          </ac:spMkLst>
        </pc:spChg>
        <pc:spChg chg="mod">
          <ac:chgData name="Yagi, Riku" userId="092f3030-7069-45a1-8a72-8208e6901431" providerId="ADAL" clId="{09FB6AC7-6CCB-4227-9F16-F60C5529EF99}" dt="2023-05-08T13:38:48.254" v="413" actId="14100"/>
          <ac:spMkLst>
            <pc:docMk/>
            <pc:sldMk cId="1305537022" sldId="2147376615"/>
            <ac:spMk id="231" creationId="{4DECFA8C-907D-4FF6-BF1F-6B778580D91B}"/>
          </ac:spMkLst>
        </pc:spChg>
        <pc:spChg chg="mod">
          <ac:chgData name="Yagi, Riku" userId="092f3030-7069-45a1-8a72-8208e6901431" providerId="ADAL" clId="{09FB6AC7-6CCB-4227-9F16-F60C5529EF99}" dt="2023-05-08T13:38:48.254" v="413" actId="14100"/>
          <ac:spMkLst>
            <pc:docMk/>
            <pc:sldMk cId="1305537022" sldId="2147376615"/>
            <ac:spMk id="232" creationId="{35073290-1F69-4AAF-B5BD-278127E36A38}"/>
          </ac:spMkLst>
        </pc:spChg>
        <pc:spChg chg="mod">
          <ac:chgData name="Yagi, Riku" userId="092f3030-7069-45a1-8a72-8208e6901431" providerId="ADAL" clId="{09FB6AC7-6CCB-4227-9F16-F60C5529EF99}" dt="2023-05-08T13:38:48.254" v="413" actId="14100"/>
          <ac:spMkLst>
            <pc:docMk/>
            <pc:sldMk cId="1305537022" sldId="2147376615"/>
            <ac:spMk id="233" creationId="{1B3A1943-FAD6-4266-80AA-238429D5F60A}"/>
          </ac:spMkLst>
        </pc:spChg>
        <pc:spChg chg="del">
          <ac:chgData name="Yagi, Riku" userId="092f3030-7069-45a1-8a72-8208e6901431" providerId="ADAL" clId="{09FB6AC7-6CCB-4227-9F16-F60C5529EF99}" dt="2023-05-08T13:35:55.326" v="331" actId="478"/>
          <ac:spMkLst>
            <pc:docMk/>
            <pc:sldMk cId="1305537022" sldId="2147376615"/>
            <ac:spMk id="234" creationId="{03C4317A-5AE6-451C-9BA4-0137C6319FDE}"/>
          </ac:spMkLst>
        </pc:spChg>
        <pc:spChg chg="del">
          <ac:chgData name="Yagi, Riku" userId="092f3030-7069-45a1-8a72-8208e6901431" providerId="ADAL" clId="{09FB6AC7-6CCB-4227-9F16-F60C5529EF99}" dt="2023-05-08T13:35:55.326" v="331" actId="478"/>
          <ac:spMkLst>
            <pc:docMk/>
            <pc:sldMk cId="1305537022" sldId="2147376615"/>
            <ac:spMk id="235" creationId="{B69AAF57-77CF-4586-8E84-CE118A67078C}"/>
          </ac:spMkLst>
        </pc:spChg>
        <pc:spChg chg="del">
          <ac:chgData name="Yagi, Riku" userId="092f3030-7069-45a1-8a72-8208e6901431" providerId="ADAL" clId="{09FB6AC7-6CCB-4227-9F16-F60C5529EF99}" dt="2023-05-08T13:35:55.326" v="331" actId="478"/>
          <ac:spMkLst>
            <pc:docMk/>
            <pc:sldMk cId="1305537022" sldId="2147376615"/>
            <ac:spMk id="236" creationId="{F6109B60-83F3-4B47-9307-E845B7F230BD}"/>
          </ac:spMkLst>
        </pc:spChg>
        <pc:spChg chg="del">
          <ac:chgData name="Yagi, Riku" userId="092f3030-7069-45a1-8a72-8208e6901431" providerId="ADAL" clId="{09FB6AC7-6CCB-4227-9F16-F60C5529EF99}" dt="2023-05-08T13:35:55.326" v="331" actId="478"/>
          <ac:spMkLst>
            <pc:docMk/>
            <pc:sldMk cId="1305537022" sldId="2147376615"/>
            <ac:spMk id="237" creationId="{3A14A041-E3E8-455E-95D0-D9E52059FDF2}"/>
          </ac:spMkLst>
        </pc:spChg>
        <pc:spChg chg="del">
          <ac:chgData name="Yagi, Riku" userId="092f3030-7069-45a1-8a72-8208e6901431" providerId="ADAL" clId="{09FB6AC7-6CCB-4227-9F16-F60C5529EF99}" dt="2023-05-08T13:35:55.326" v="331" actId="478"/>
          <ac:spMkLst>
            <pc:docMk/>
            <pc:sldMk cId="1305537022" sldId="2147376615"/>
            <ac:spMk id="238" creationId="{9DBA21A0-631E-45A3-A075-2B1EC35F1A35}"/>
          </ac:spMkLst>
        </pc:spChg>
        <pc:spChg chg="del">
          <ac:chgData name="Yagi, Riku" userId="092f3030-7069-45a1-8a72-8208e6901431" providerId="ADAL" clId="{09FB6AC7-6CCB-4227-9F16-F60C5529EF99}" dt="2023-05-08T13:35:55.326" v="331" actId="478"/>
          <ac:spMkLst>
            <pc:docMk/>
            <pc:sldMk cId="1305537022" sldId="2147376615"/>
            <ac:spMk id="239" creationId="{D372F6E6-892D-4D9B-940A-141EA2408E78}"/>
          </ac:spMkLst>
        </pc:spChg>
        <pc:spChg chg="del">
          <ac:chgData name="Yagi, Riku" userId="092f3030-7069-45a1-8a72-8208e6901431" providerId="ADAL" clId="{09FB6AC7-6CCB-4227-9F16-F60C5529EF99}" dt="2023-05-08T13:35:55.326" v="331" actId="478"/>
          <ac:spMkLst>
            <pc:docMk/>
            <pc:sldMk cId="1305537022" sldId="2147376615"/>
            <ac:spMk id="240" creationId="{2E214E59-574E-4992-B562-496E14123B5E}"/>
          </ac:spMkLst>
        </pc:spChg>
        <pc:spChg chg="del">
          <ac:chgData name="Yagi, Riku" userId="092f3030-7069-45a1-8a72-8208e6901431" providerId="ADAL" clId="{09FB6AC7-6CCB-4227-9F16-F60C5529EF99}" dt="2023-05-08T13:35:55.326" v="331" actId="478"/>
          <ac:spMkLst>
            <pc:docMk/>
            <pc:sldMk cId="1305537022" sldId="2147376615"/>
            <ac:spMk id="241" creationId="{8C15E36C-6A2D-4575-9BEF-C934B58D9689}"/>
          </ac:spMkLst>
        </pc:spChg>
        <pc:spChg chg="del">
          <ac:chgData name="Yagi, Riku" userId="092f3030-7069-45a1-8a72-8208e6901431" providerId="ADAL" clId="{09FB6AC7-6CCB-4227-9F16-F60C5529EF99}" dt="2023-05-08T13:35:55.326" v="331" actId="478"/>
          <ac:spMkLst>
            <pc:docMk/>
            <pc:sldMk cId="1305537022" sldId="2147376615"/>
            <ac:spMk id="242" creationId="{FC52D522-F27B-4FEA-96CD-FE4E43C4F250}"/>
          </ac:spMkLst>
        </pc:spChg>
        <pc:spChg chg="del">
          <ac:chgData name="Yagi, Riku" userId="092f3030-7069-45a1-8a72-8208e6901431" providerId="ADAL" clId="{09FB6AC7-6CCB-4227-9F16-F60C5529EF99}" dt="2023-05-08T13:35:55.326" v="331" actId="478"/>
          <ac:spMkLst>
            <pc:docMk/>
            <pc:sldMk cId="1305537022" sldId="2147376615"/>
            <ac:spMk id="243" creationId="{4FB62A44-D1D8-411D-9511-F3755B0EA3EE}"/>
          </ac:spMkLst>
        </pc:spChg>
        <pc:spChg chg="mod">
          <ac:chgData name="Yagi, Riku" userId="092f3030-7069-45a1-8a72-8208e6901431" providerId="ADAL" clId="{09FB6AC7-6CCB-4227-9F16-F60C5529EF99}" dt="2023-05-08T13:38:53.480" v="415" actId="12788"/>
          <ac:spMkLst>
            <pc:docMk/>
            <pc:sldMk cId="1305537022" sldId="2147376615"/>
            <ac:spMk id="244" creationId="{DFACB36C-DCB5-45E7-9B19-79ACA182C464}"/>
          </ac:spMkLst>
        </pc:spChg>
        <pc:cxnChg chg="del">
          <ac:chgData name="Yagi, Riku" userId="092f3030-7069-45a1-8a72-8208e6901431" providerId="ADAL" clId="{09FB6AC7-6CCB-4227-9F16-F60C5529EF99}" dt="2023-05-08T13:35:44.542" v="327" actId="478"/>
          <ac:cxnSpMkLst>
            <pc:docMk/>
            <pc:sldMk cId="1305537022" sldId="2147376615"/>
            <ac:cxnSpMk id="203" creationId="{5B987A54-5891-4A41-BE37-33351555004C}"/>
          </ac:cxnSpMkLst>
        </pc:cxnChg>
        <pc:cxnChg chg="del">
          <ac:chgData name="Yagi, Riku" userId="092f3030-7069-45a1-8a72-8208e6901431" providerId="ADAL" clId="{09FB6AC7-6CCB-4227-9F16-F60C5529EF99}" dt="2023-05-08T13:35:44.542" v="327" actId="478"/>
          <ac:cxnSpMkLst>
            <pc:docMk/>
            <pc:sldMk cId="1305537022" sldId="2147376615"/>
            <ac:cxnSpMk id="204" creationId="{1D4D4778-6FD0-49A2-8F5F-9B4C5F80704E}"/>
          </ac:cxnSpMkLst>
        </pc:cxnChg>
        <pc:cxnChg chg="del">
          <ac:chgData name="Yagi, Riku" userId="092f3030-7069-45a1-8a72-8208e6901431" providerId="ADAL" clId="{09FB6AC7-6CCB-4227-9F16-F60C5529EF99}" dt="2023-05-08T13:35:44.542" v="327" actId="478"/>
          <ac:cxnSpMkLst>
            <pc:docMk/>
            <pc:sldMk cId="1305537022" sldId="2147376615"/>
            <ac:cxnSpMk id="205" creationId="{F9309AA3-A52F-462E-BB36-A300E1C6C4FC}"/>
          </ac:cxnSpMkLst>
        </pc:cxnChg>
        <pc:cxnChg chg="del">
          <ac:chgData name="Yagi, Riku" userId="092f3030-7069-45a1-8a72-8208e6901431" providerId="ADAL" clId="{09FB6AC7-6CCB-4227-9F16-F60C5529EF99}" dt="2023-05-08T13:35:44.542" v="327" actId="478"/>
          <ac:cxnSpMkLst>
            <pc:docMk/>
            <pc:sldMk cId="1305537022" sldId="2147376615"/>
            <ac:cxnSpMk id="206" creationId="{E4EBFC6C-9B02-4F67-BB20-88630DB63B62}"/>
          </ac:cxnSpMkLst>
        </pc:cxnChg>
        <pc:cxnChg chg="del">
          <ac:chgData name="Yagi, Riku" userId="092f3030-7069-45a1-8a72-8208e6901431" providerId="ADAL" clId="{09FB6AC7-6CCB-4227-9F16-F60C5529EF99}" dt="2023-05-08T13:35:44.542" v="327" actId="478"/>
          <ac:cxnSpMkLst>
            <pc:docMk/>
            <pc:sldMk cId="1305537022" sldId="2147376615"/>
            <ac:cxnSpMk id="207" creationId="{3ADC6A1A-D08D-4D8C-A967-AB05C7F7D7CF}"/>
          </ac:cxnSpMkLst>
        </pc:cxnChg>
      </pc:sldChg>
    </pc:docChg>
  </pc:docChgLst>
  <pc:docChgLst>
    <pc:chgData name="Yagi, Riku" userId="092f3030-7069-45a1-8a72-8208e6901431" providerId="ADAL" clId="{A5E88AED-4094-4B43-8EFE-AC2AF6734DEE}"/>
    <pc:docChg chg="undo redo custSel modSld">
      <pc:chgData name="Yagi, Riku" userId="092f3030-7069-45a1-8a72-8208e6901431" providerId="ADAL" clId="{A5E88AED-4094-4B43-8EFE-AC2AF6734DEE}" dt="2023-07-03T04:40:03.171" v="11" actId="20577"/>
      <pc:docMkLst>
        <pc:docMk/>
      </pc:docMkLst>
      <pc:sldChg chg="modSp mod">
        <pc:chgData name="Yagi, Riku" userId="092f3030-7069-45a1-8a72-8208e6901431" providerId="ADAL" clId="{A5E88AED-4094-4B43-8EFE-AC2AF6734DEE}" dt="2023-07-03T04:40:03.171" v="11" actId="20577"/>
        <pc:sldMkLst>
          <pc:docMk/>
          <pc:sldMk cId="3117319284" sldId="2147376551"/>
        </pc:sldMkLst>
        <pc:spChg chg="mod">
          <ac:chgData name="Yagi, Riku" userId="092f3030-7069-45a1-8a72-8208e6901431" providerId="ADAL" clId="{A5E88AED-4094-4B43-8EFE-AC2AF6734DEE}" dt="2023-07-03T04:40:03.171" v="11" actId="20577"/>
          <ac:spMkLst>
            <pc:docMk/>
            <pc:sldMk cId="3117319284" sldId="2147376551"/>
            <ac:spMk id="4" creationId="{6D770DF6-F588-40B0-808A-BF9058AD3D5C}"/>
          </ac:spMkLst>
        </pc:spChg>
      </pc:sldChg>
    </pc:docChg>
  </pc:docChgLst>
  <pc:docChgLst>
    <pc:chgData name="Yagi, Riku" userId="092f3030-7069-45a1-8a72-8208e6901431" providerId="ADAL" clId="{88AF2E45-1AB2-417E-9714-6DD5166D3EA4}"/>
    <pc:docChg chg="undo custSel addSld delSld modSld modSection">
      <pc:chgData name="Yagi, Riku" userId="092f3030-7069-45a1-8a72-8208e6901431" providerId="ADAL" clId="{88AF2E45-1AB2-417E-9714-6DD5166D3EA4}" dt="2023-05-11T09:44:55.446" v="56" actId="20577"/>
      <pc:docMkLst>
        <pc:docMk/>
      </pc:docMkLst>
      <pc:sldChg chg="modSp mod">
        <pc:chgData name="Yagi, Riku" userId="092f3030-7069-45a1-8a72-8208e6901431" providerId="ADAL" clId="{88AF2E45-1AB2-417E-9714-6DD5166D3EA4}" dt="2023-05-11T09:44:55.446" v="56" actId="20577"/>
        <pc:sldMkLst>
          <pc:docMk/>
          <pc:sldMk cId="1762000330" sldId="2147376542"/>
        </pc:sldMkLst>
        <pc:spChg chg="mod">
          <ac:chgData name="Yagi, Riku" userId="092f3030-7069-45a1-8a72-8208e6901431" providerId="ADAL" clId="{88AF2E45-1AB2-417E-9714-6DD5166D3EA4}" dt="2023-05-11T09:44:55.446" v="56" actId="20577"/>
          <ac:spMkLst>
            <pc:docMk/>
            <pc:sldMk cId="1762000330" sldId="2147376542"/>
            <ac:spMk id="8" creationId="{EF6218F6-959A-4559-B935-011209810466}"/>
          </ac:spMkLst>
        </pc:spChg>
        <pc:spChg chg="mod">
          <ac:chgData name="Yagi, Riku" userId="092f3030-7069-45a1-8a72-8208e6901431" providerId="ADAL" clId="{88AF2E45-1AB2-417E-9714-6DD5166D3EA4}" dt="2023-05-11T09:44:50.943" v="46" actId="20577"/>
          <ac:spMkLst>
            <pc:docMk/>
            <pc:sldMk cId="1762000330" sldId="2147376542"/>
            <ac:spMk id="49" creationId="{61F34C26-F1E1-40EE-BCE4-40A2803EB6E4}"/>
          </ac:spMkLst>
        </pc:spChg>
      </pc:sldChg>
      <pc:sldChg chg="modSp mod">
        <pc:chgData name="Yagi, Riku" userId="092f3030-7069-45a1-8a72-8208e6901431" providerId="ADAL" clId="{88AF2E45-1AB2-417E-9714-6DD5166D3EA4}" dt="2023-05-11T08:43:55.380" v="4" actId="313"/>
        <pc:sldMkLst>
          <pc:docMk/>
          <pc:sldMk cId="3112048226" sldId="2147376544"/>
        </pc:sldMkLst>
        <pc:spChg chg="mod">
          <ac:chgData name="Yagi, Riku" userId="092f3030-7069-45a1-8a72-8208e6901431" providerId="ADAL" clId="{88AF2E45-1AB2-417E-9714-6DD5166D3EA4}" dt="2023-05-11T08:43:55.380" v="4" actId="313"/>
          <ac:spMkLst>
            <pc:docMk/>
            <pc:sldMk cId="3112048226" sldId="2147376544"/>
            <ac:spMk id="26" creationId="{A3220A8B-96B0-434F-8BC8-4D321C80687D}"/>
          </ac:spMkLst>
        </pc:spChg>
      </pc:sldChg>
      <pc:sldChg chg="modSp mod">
        <pc:chgData name="Yagi, Riku" userId="092f3030-7069-45a1-8a72-8208e6901431" providerId="ADAL" clId="{88AF2E45-1AB2-417E-9714-6DD5166D3EA4}" dt="2023-05-11T08:45:20.988" v="12" actId="20577"/>
        <pc:sldMkLst>
          <pc:docMk/>
          <pc:sldMk cId="3117319284" sldId="2147376551"/>
        </pc:sldMkLst>
        <pc:spChg chg="mod">
          <ac:chgData name="Yagi, Riku" userId="092f3030-7069-45a1-8a72-8208e6901431" providerId="ADAL" clId="{88AF2E45-1AB2-417E-9714-6DD5166D3EA4}" dt="2023-05-11T08:45:20.988" v="12" actId="20577"/>
          <ac:spMkLst>
            <pc:docMk/>
            <pc:sldMk cId="3117319284" sldId="2147376551"/>
            <ac:spMk id="4" creationId="{6D770DF6-F588-40B0-808A-BF9058AD3D5C}"/>
          </ac:spMkLst>
        </pc:spChg>
      </pc:sldChg>
      <pc:sldChg chg="modSp mod">
        <pc:chgData name="Yagi, Riku" userId="092f3030-7069-45a1-8a72-8208e6901431" providerId="ADAL" clId="{88AF2E45-1AB2-417E-9714-6DD5166D3EA4}" dt="2023-05-11T08:43:28.626" v="2" actId="313"/>
        <pc:sldMkLst>
          <pc:docMk/>
          <pc:sldMk cId="622451436" sldId="2147376559"/>
        </pc:sldMkLst>
        <pc:spChg chg="mod">
          <ac:chgData name="Yagi, Riku" userId="092f3030-7069-45a1-8a72-8208e6901431" providerId="ADAL" clId="{88AF2E45-1AB2-417E-9714-6DD5166D3EA4}" dt="2023-05-11T08:43:28.626" v="2" actId="313"/>
          <ac:spMkLst>
            <pc:docMk/>
            <pc:sldMk cId="622451436" sldId="2147376559"/>
            <ac:spMk id="5" creationId="{7A955F3B-7147-4E74-99AD-5CF562CAE98C}"/>
          </ac:spMkLst>
        </pc:spChg>
      </pc:sldChg>
      <pc:sldChg chg="modSp mod">
        <pc:chgData name="Yagi, Riku" userId="092f3030-7069-45a1-8a72-8208e6901431" providerId="ADAL" clId="{88AF2E45-1AB2-417E-9714-6DD5166D3EA4}" dt="2023-05-11T08:43:50.358" v="3" actId="313"/>
        <pc:sldMkLst>
          <pc:docMk/>
          <pc:sldMk cId="180363097" sldId="2147376596"/>
        </pc:sldMkLst>
        <pc:spChg chg="mod">
          <ac:chgData name="Yagi, Riku" userId="092f3030-7069-45a1-8a72-8208e6901431" providerId="ADAL" clId="{88AF2E45-1AB2-417E-9714-6DD5166D3EA4}" dt="2023-05-11T08:43:50.358" v="3" actId="313"/>
          <ac:spMkLst>
            <pc:docMk/>
            <pc:sldMk cId="180363097" sldId="2147376596"/>
            <ac:spMk id="26" creationId="{A3220A8B-96B0-434F-8BC8-4D321C80687D}"/>
          </ac:spMkLst>
        </pc:spChg>
      </pc:sldChg>
      <pc:sldChg chg="modSp mod">
        <pc:chgData name="Yagi, Riku" userId="092f3030-7069-45a1-8a72-8208e6901431" providerId="ADAL" clId="{88AF2E45-1AB2-417E-9714-6DD5166D3EA4}" dt="2023-05-11T08:43:57.213" v="5" actId="313"/>
        <pc:sldMkLst>
          <pc:docMk/>
          <pc:sldMk cId="2657891735" sldId="2147376607"/>
        </pc:sldMkLst>
        <pc:spChg chg="mod">
          <ac:chgData name="Yagi, Riku" userId="092f3030-7069-45a1-8a72-8208e6901431" providerId="ADAL" clId="{88AF2E45-1AB2-417E-9714-6DD5166D3EA4}" dt="2023-05-11T08:43:57.213" v="5" actId="313"/>
          <ac:spMkLst>
            <pc:docMk/>
            <pc:sldMk cId="2657891735" sldId="2147376607"/>
            <ac:spMk id="26" creationId="{A3220A8B-96B0-434F-8BC8-4D321C80687D}"/>
          </ac:spMkLst>
        </pc:spChg>
      </pc:sldChg>
      <pc:sldChg chg="modSp mod">
        <pc:chgData name="Yagi, Riku" userId="092f3030-7069-45a1-8a72-8208e6901431" providerId="ADAL" clId="{88AF2E45-1AB2-417E-9714-6DD5166D3EA4}" dt="2023-05-11T08:43:58.235" v="6" actId="313"/>
        <pc:sldMkLst>
          <pc:docMk/>
          <pc:sldMk cId="2355929026" sldId="2147376608"/>
        </pc:sldMkLst>
        <pc:spChg chg="mod">
          <ac:chgData name="Yagi, Riku" userId="092f3030-7069-45a1-8a72-8208e6901431" providerId="ADAL" clId="{88AF2E45-1AB2-417E-9714-6DD5166D3EA4}" dt="2023-05-11T08:43:58.235" v="6" actId="313"/>
          <ac:spMkLst>
            <pc:docMk/>
            <pc:sldMk cId="2355929026" sldId="2147376608"/>
            <ac:spMk id="26" creationId="{A3220A8B-96B0-434F-8BC8-4D321C80687D}"/>
          </ac:spMkLst>
        </pc:spChg>
      </pc:sldChg>
      <pc:sldChg chg="modSp mod">
        <pc:chgData name="Yagi, Riku" userId="092f3030-7069-45a1-8a72-8208e6901431" providerId="ADAL" clId="{88AF2E45-1AB2-417E-9714-6DD5166D3EA4}" dt="2023-05-11T08:43:59.283" v="7" actId="313"/>
        <pc:sldMkLst>
          <pc:docMk/>
          <pc:sldMk cId="827989469" sldId="2147376609"/>
        </pc:sldMkLst>
        <pc:spChg chg="mod">
          <ac:chgData name="Yagi, Riku" userId="092f3030-7069-45a1-8a72-8208e6901431" providerId="ADAL" clId="{88AF2E45-1AB2-417E-9714-6DD5166D3EA4}" dt="2023-05-11T08:43:59.283" v="7" actId="313"/>
          <ac:spMkLst>
            <pc:docMk/>
            <pc:sldMk cId="827989469" sldId="2147376609"/>
            <ac:spMk id="26" creationId="{A3220A8B-96B0-434F-8BC8-4D321C80687D}"/>
          </ac:spMkLst>
        </pc:spChg>
      </pc:sldChg>
      <pc:sldChg chg="modSp mod">
        <pc:chgData name="Yagi, Riku" userId="092f3030-7069-45a1-8a72-8208e6901431" providerId="ADAL" clId="{88AF2E45-1AB2-417E-9714-6DD5166D3EA4}" dt="2023-05-11T08:44:00.198" v="8" actId="313"/>
        <pc:sldMkLst>
          <pc:docMk/>
          <pc:sldMk cId="3627105424" sldId="2147376610"/>
        </pc:sldMkLst>
        <pc:spChg chg="mod">
          <ac:chgData name="Yagi, Riku" userId="092f3030-7069-45a1-8a72-8208e6901431" providerId="ADAL" clId="{88AF2E45-1AB2-417E-9714-6DD5166D3EA4}" dt="2023-05-11T08:44:00.198" v="8" actId="313"/>
          <ac:spMkLst>
            <pc:docMk/>
            <pc:sldMk cId="3627105424" sldId="2147376610"/>
            <ac:spMk id="26" creationId="{A3220A8B-96B0-434F-8BC8-4D321C80687D}"/>
          </ac:spMkLst>
        </pc:spChg>
      </pc:sldChg>
      <pc:sldChg chg="modSp mod">
        <pc:chgData name="Yagi, Riku" userId="092f3030-7069-45a1-8a72-8208e6901431" providerId="ADAL" clId="{88AF2E45-1AB2-417E-9714-6DD5166D3EA4}" dt="2023-05-11T08:44:01.151" v="9" actId="313"/>
        <pc:sldMkLst>
          <pc:docMk/>
          <pc:sldMk cId="2436708289" sldId="2147376611"/>
        </pc:sldMkLst>
        <pc:spChg chg="mod">
          <ac:chgData name="Yagi, Riku" userId="092f3030-7069-45a1-8a72-8208e6901431" providerId="ADAL" clId="{88AF2E45-1AB2-417E-9714-6DD5166D3EA4}" dt="2023-05-11T08:44:01.151" v="9" actId="313"/>
          <ac:spMkLst>
            <pc:docMk/>
            <pc:sldMk cId="2436708289" sldId="2147376611"/>
            <ac:spMk id="26" creationId="{A3220A8B-96B0-434F-8BC8-4D321C80687D}"/>
          </ac:spMkLst>
        </pc:spChg>
      </pc:sldChg>
      <pc:sldChg chg="add del">
        <pc:chgData name="Yagi, Riku" userId="092f3030-7069-45a1-8a72-8208e6901431" providerId="ADAL" clId="{88AF2E45-1AB2-417E-9714-6DD5166D3EA4}" dt="2023-05-11T08:42:58.854" v="1" actId="2890"/>
        <pc:sldMkLst>
          <pc:docMk/>
          <pc:sldMk cId="2186375019" sldId="2147376616"/>
        </pc:sldMkLst>
      </pc:sldChg>
    </pc:docChg>
  </pc:docChgLst>
  <pc:docChgLst>
    <pc:chgData name="Nishi, Kentaro" userId="99f4c19a-673e-4fa1-a403-bcbf0c906067" providerId="ADAL" clId="{78F54142-409F-4A6A-BDB1-BD448273C7A7}"/>
    <pc:docChg chg="undo custSel modSld">
      <pc:chgData name="Nishi, Kentaro" userId="99f4c19a-673e-4fa1-a403-bcbf0c906067" providerId="ADAL" clId="{78F54142-409F-4A6A-BDB1-BD448273C7A7}" dt="2023-06-07T03:49:14.609" v="43" actId="20577"/>
      <pc:docMkLst>
        <pc:docMk/>
      </pc:docMkLst>
      <pc:sldChg chg="modSp mod">
        <pc:chgData name="Nishi, Kentaro" userId="99f4c19a-673e-4fa1-a403-bcbf0c906067" providerId="ADAL" clId="{78F54142-409F-4A6A-BDB1-BD448273C7A7}" dt="2023-06-07T03:47:55.960" v="11" actId="20577"/>
        <pc:sldMkLst>
          <pc:docMk/>
          <pc:sldMk cId="1296855118" sldId="2147376547"/>
        </pc:sldMkLst>
        <pc:spChg chg="mod">
          <ac:chgData name="Nishi, Kentaro" userId="99f4c19a-673e-4fa1-a403-bcbf0c906067" providerId="ADAL" clId="{78F54142-409F-4A6A-BDB1-BD448273C7A7}" dt="2023-06-07T03:47:55.960" v="11" actId="20577"/>
          <ac:spMkLst>
            <pc:docMk/>
            <pc:sldMk cId="1296855118" sldId="2147376547"/>
            <ac:spMk id="8" creationId="{EF6218F6-959A-4559-B935-011209810466}"/>
          </ac:spMkLst>
        </pc:spChg>
      </pc:sldChg>
      <pc:sldChg chg="modSp mod">
        <pc:chgData name="Nishi, Kentaro" userId="99f4c19a-673e-4fa1-a403-bcbf0c906067" providerId="ADAL" clId="{78F54142-409F-4A6A-BDB1-BD448273C7A7}" dt="2023-06-07T03:49:14.609" v="43" actId="20577"/>
        <pc:sldMkLst>
          <pc:docMk/>
          <pc:sldMk cId="3117319284" sldId="2147376551"/>
        </pc:sldMkLst>
        <pc:spChg chg="mod">
          <ac:chgData name="Nishi, Kentaro" userId="99f4c19a-673e-4fa1-a403-bcbf0c906067" providerId="ADAL" clId="{78F54142-409F-4A6A-BDB1-BD448273C7A7}" dt="2023-06-07T03:49:14.609" v="43" actId="20577"/>
          <ac:spMkLst>
            <pc:docMk/>
            <pc:sldMk cId="3117319284" sldId="2147376551"/>
            <ac:spMk id="4" creationId="{6D770DF6-F588-40B0-808A-BF9058AD3D5C}"/>
          </ac:spMkLst>
        </pc:spChg>
      </pc:sldChg>
    </pc:docChg>
  </pc:docChgLst>
  <pc:docChgLst>
    <pc:chgData name="Yagi, Riku" userId="092f3030-7069-45a1-8a72-8208e6901431" providerId="ADAL" clId="{60E4A36A-1E96-48D6-8A91-4C8463E939E9}"/>
    <pc:docChg chg="undo custSel addSld delSld modSld modSection">
      <pc:chgData name="Yagi, Riku" userId="092f3030-7069-45a1-8a72-8208e6901431" providerId="ADAL" clId="{60E4A36A-1E96-48D6-8A91-4C8463E939E9}" dt="2023-04-26T14:53:58.676" v="58" actId="1592"/>
      <pc:docMkLst>
        <pc:docMk/>
      </pc:docMkLst>
      <pc:sldChg chg="modSp mod delCm">
        <pc:chgData name="Yagi, Riku" userId="092f3030-7069-45a1-8a72-8208e6901431" providerId="ADAL" clId="{60E4A36A-1E96-48D6-8A91-4C8463E939E9}" dt="2023-04-26T14:39:16.903" v="20" actId="20577"/>
        <pc:sldMkLst>
          <pc:docMk/>
          <pc:sldMk cId="1762000330" sldId="2147376542"/>
        </pc:sldMkLst>
        <pc:spChg chg="mod">
          <ac:chgData name="Yagi, Riku" userId="092f3030-7069-45a1-8a72-8208e6901431" providerId="ADAL" clId="{60E4A36A-1E96-48D6-8A91-4C8463E939E9}" dt="2023-04-26T14:39:16.903" v="20" actId="20577"/>
          <ac:spMkLst>
            <pc:docMk/>
            <pc:sldMk cId="1762000330" sldId="2147376542"/>
            <ac:spMk id="8" creationId="{EF6218F6-959A-4559-B935-011209810466}"/>
          </ac:spMkLst>
        </pc:spChg>
      </pc:sldChg>
      <pc:sldChg chg="modSp mod delCm">
        <pc:chgData name="Yagi, Riku" userId="092f3030-7069-45a1-8a72-8208e6901431" providerId="ADAL" clId="{60E4A36A-1E96-48D6-8A91-4C8463E939E9}" dt="2023-04-26T14:46:12.434" v="41"/>
        <pc:sldMkLst>
          <pc:docMk/>
          <pc:sldMk cId="3112048226" sldId="2147376544"/>
        </pc:sldMkLst>
        <pc:spChg chg="mod">
          <ac:chgData name="Yagi, Riku" userId="092f3030-7069-45a1-8a72-8208e6901431" providerId="ADAL" clId="{60E4A36A-1E96-48D6-8A91-4C8463E939E9}" dt="2023-04-26T14:46:12.434" v="41"/>
          <ac:spMkLst>
            <pc:docMk/>
            <pc:sldMk cId="3112048226" sldId="2147376544"/>
            <ac:spMk id="16" creationId="{FEFB3204-3214-4329-A500-6C8EE7D9D8EA}"/>
          </ac:spMkLst>
        </pc:spChg>
        <pc:spChg chg="mod">
          <ac:chgData name="Yagi, Riku" userId="092f3030-7069-45a1-8a72-8208e6901431" providerId="ADAL" clId="{60E4A36A-1E96-48D6-8A91-4C8463E939E9}" dt="2023-04-26T14:45:59.471" v="40" actId="20577"/>
          <ac:spMkLst>
            <pc:docMk/>
            <pc:sldMk cId="3112048226" sldId="2147376544"/>
            <ac:spMk id="26" creationId="{A3220A8B-96B0-434F-8BC8-4D321C80687D}"/>
          </ac:spMkLst>
        </pc:spChg>
      </pc:sldChg>
      <pc:sldChg chg="modSp mod delCm">
        <pc:chgData name="Yagi, Riku" userId="092f3030-7069-45a1-8a72-8208e6901431" providerId="ADAL" clId="{60E4A36A-1E96-48D6-8A91-4C8463E939E9}" dt="2023-04-26T14:43:29.134" v="22" actId="1592"/>
        <pc:sldMkLst>
          <pc:docMk/>
          <pc:sldMk cId="1662167398" sldId="2147376549"/>
        </pc:sldMkLst>
        <pc:spChg chg="mod">
          <ac:chgData name="Yagi, Riku" userId="092f3030-7069-45a1-8a72-8208e6901431" providerId="ADAL" clId="{60E4A36A-1E96-48D6-8A91-4C8463E939E9}" dt="2023-04-26T14:43:26.267" v="21"/>
          <ac:spMkLst>
            <pc:docMk/>
            <pc:sldMk cId="1662167398" sldId="2147376549"/>
            <ac:spMk id="74" creationId="{A107C216-38BF-4FFC-90D4-F96D5C58698B}"/>
          </ac:spMkLst>
        </pc:spChg>
      </pc:sldChg>
      <pc:sldChg chg="delSp mod">
        <pc:chgData name="Yagi, Riku" userId="092f3030-7069-45a1-8a72-8208e6901431" providerId="ADAL" clId="{60E4A36A-1E96-48D6-8A91-4C8463E939E9}" dt="2023-04-26T14:38:49.579" v="0" actId="478"/>
        <pc:sldMkLst>
          <pc:docMk/>
          <pc:sldMk cId="2453785476" sldId="2147376558"/>
        </pc:sldMkLst>
        <pc:spChg chg="del">
          <ac:chgData name="Yagi, Riku" userId="092f3030-7069-45a1-8a72-8208e6901431" providerId="ADAL" clId="{60E4A36A-1E96-48D6-8A91-4C8463E939E9}" dt="2023-04-26T14:38:49.579" v="0" actId="478"/>
          <ac:spMkLst>
            <pc:docMk/>
            <pc:sldMk cId="2453785476" sldId="2147376558"/>
            <ac:spMk id="2" creationId="{00000000-0000-0000-0000-000000000000}"/>
          </ac:spMkLst>
        </pc:spChg>
      </pc:sldChg>
      <pc:sldChg chg="delCm">
        <pc:chgData name="Yagi, Riku" userId="092f3030-7069-45a1-8a72-8208e6901431" providerId="ADAL" clId="{60E4A36A-1E96-48D6-8A91-4C8463E939E9}" dt="2023-04-26T14:53:58.676" v="58" actId="1592"/>
        <pc:sldMkLst>
          <pc:docMk/>
          <pc:sldMk cId="1902198402" sldId="2147376564"/>
        </pc:sldMkLst>
      </pc:sldChg>
      <pc:sldChg chg="delCm">
        <pc:chgData name="Yagi, Riku" userId="092f3030-7069-45a1-8a72-8208e6901431" providerId="ADAL" clId="{60E4A36A-1E96-48D6-8A91-4C8463E939E9}" dt="2023-04-26T14:53:27.093" v="56" actId="1592"/>
        <pc:sldMkLst>
          <pc:docMk/>
          <pc:sldMk cId="4094569849" sldId="2147376567"/>
        </pc:sldMkLst>
      </pc:sldChg>
      <pc:sldChg chg="modSp mod delCm">
        <pc:chgData name="Yagi, Riku" userId="092f3030-7069-45a1-8a72-8208e6901431" providerId="ADAL" clId="{60E4A36A-1E96-48D6-8A91-4C8463E939E9}" dt="2023-04-26T14:44:09.081" v="25" actId="1592"/>
        <pc:sldMkLst>
          <pc:docMk/>
          <pc:sldMk cId="495821926" sldId="2147376569"/>
        </pc:sldMkLst>
        <pc:spChg chg="mod">
          <ac:chgData name="Yagi, Riku" userId="092f3030-7069-45a1-8a72-8208e6901431" providerId="ADAL" clId="{60E4A36A-1E96-48D6-8A91-4C8463E939E9}" dt="2023-04-26T14:43:41.130" v="23"/>
          <ac:spMkLst>
            <pc:docMk/>
            <pc:sldMk cId="495821926" sldId="2147376569"/>
            <ac:spMk id="9" creationId="{9C91125B-EBB5-45E5-9F5E-A9F4E3E9C946}"/>
          </ac:spMkLst>
        </pc:spChg>
        <pc:spChg chg="mod">
          <ac:chgData name="Yagi, Riku" userId="092f3030-7069-45a1-8a72-8208e6901431" providerId="ADAL" clId="{60E4A36A-1E96-48D6-8A91-4C8463E939E9}" dt="2023-04-26T14:43:47.585" v="24"/>
          <ac:spMkLst>
            <pc:docMk/>
            <pc:sldMk cId="495821926" sldId="2147376569"/>
            <ac:spMk id="11" creationId="{BA7D3EB4-0652-4CDD-A3E8-AD29BA05EE45}"/>
          </ac:spMkLst>
        </pc:spChg>
      </pc:sldChg>
      <pc:sldChg chg="modSp mod delCm">
        <pc:chgData name="Yagi, Riku" userId="092f3030-7069-45a1-8a72-8208e6901431" providerId="ADAL" clId="{60E4A36A-1E96-48D6-8A91-4C8463E939E9}" dt="2023-04-26T14:39:00.220" v="7" actId="1592"/>
        <pc:sldMkLst>
          <pc:docMk/>
          <pc:sldMk cId="546843826" sldId="2147376574"/>
        </pc:sldMkLst>
        <pc:spChg chg="mod">
          <ac:chgData name="Yagi, Riku" userId="092f3030-7069-45a1-8a72-8208e6901431" providerId="ADAL" clId="{60E4A36A-1E96-48D6-8A91-4C8463E939E9}" dt="2023-04-26T14:38:56.368" v="6" actId="6549"/>
          <ac:spMkLst>
            <pc:docMk/>
            <pc:sldMk cId="546843826" sldId="2147376574"/>
            <ac:spMk id="8" creationId="{EF6218F6-959A-4559-B935-011209810466}"/>
          </ac:spMkLst>
        </pc:spChg>
      </pc:sldChg>
      <pc:sldChg chg="delCm">
        <pc:chgData name="Yagi, Riku" userId="092f3030-7069-45a1-8a72-8208e6901431" providerId="ADAL" clId="{60E4A36A-1E96-48D6-8A91-4C8463E939E9}" dt="2023-04-26T14:52:58.275" v="54" actId="1592"/>
        <pc:sldMkLst>
          <pc:docMk/>
          <pc:sldMk cId="820038137" sldId="2147376575"/>
        </pc:sldMkLst>
      </pc:sldChg>
      <pc:sldChg chg="modSp mod delCm">
        <pc:chgData name="Yagi, Riku" userId="092f3030-7069-45a1-8a72-8208e6901431" providerId="ADAL" clId="{60E4A36A-1E96-48D6-8A91-4C8463E939E9}" dt="2023-04-26T14:46:36.716" v="49"/>
        <pc:sldMkLst>
          <pc:docMk/>
          <pc:sldMk cId="1427538256" sldId="2147376585"/>
        </pc:sldMkLst>
        <pc:spChg chg="mod">
          <ac:chgData name="Yagi, Riku" userId="092f3030-7069-45a1-8a72-8208e6901431" providerId="ADAL" clId="{60E4A36A-1E96-48D6-8A91-4C8463E939E9}" dt="2023-04-26T14:46:36.716" v="49"/>
          <ac:spMkLst>
            <pc:docMk/>
            <pc:sldMk cId="1427538256" sldId="2147376585"/>
            <ac:spMk id="25" creationId="{2400B210-6FBB-4180-83F9-5F2B3028B279}"/>
          </ac:spMkLst>
        </pc:spChg>
      </pc:sldChg>
      <pc:sldChg chg="modSp mod delCm">
        <pc:chgData name="Yagi, Riku" userId="092f3030-7069-45a1-8a72-8208e6901431" providerId="ADAL" clId="{60E4A36A-1E96-48D6-8A91-4C8463E939E9}" dt="2023-04-26T14:53:09.278" v="55" actId="1592"/>
        <pc:sldMkLst>
          <pc:docMk/>
          <pc:sldMk cId="2472620270" sldId="2147376586"/>
        </pc:sldMkLst>
        <pc:spChg chg="mod">
          <ac:chgData name="Yagi, Riku" userId="092f3030-7069-45a1-8a72-8208e6901431" providerId="ADAL" clId="{60E4A36A-1E96-48D6-8A91-4C8463E939E9}" dt="2023-04-26T14:46:42.058" v="52"/>
          <ac:spMkLst>
            <pc:docMk/>
            <pc:sldMk cId="2472620270" sldId="2147376586"/>
            <ac:spMk id="25" creationId="{ED357DA2-996B-4542-9261-F61D30CC88A2}"/>
          </ac:spMkLst>
        </pc:spChg>
      </pc:sldChg>
      <pc:sldChg chg="del">
        <pc:chgData name="Yagi, Riku" userId="092f3030-7069-45a1-8a72-8208e6901431" providerId="ADAL" clId="{60E4A36A-1E96-48D6-8A91-4C8463E939E9}" dt="2023-04-26T14:53:35.762" v="57" actId="47"/>
        <pc:sldMkLst>
          <pc:docMk/>
          <pc:sldMk cId="2696110925" sldId="2147376595"/>
        </pc:sldMkLst>
      </pc:sldChg>
      <pc:sldChg chg="add">
        <pc:chgData name="Yagi, Riku" userId="092f3030-7069-45a1-8a72-8208e6901431" providerId="ADAL" clId="{60E4A36A-1E96-48D6-8A91-4C8463E939E9}" dt="2023-04-26T14:46:53.582" v="53"/>
        <pc:sldMkLst>
          <pc:docMk/>
          <pc:sldMk cId="180363097" sldId="2147376596"/>
        </pc:sldMkLst>
      </pc:sldChg>
    </pc:docChg>
  </pc:docChgLst>
  <pc:docChgLst>
    <pc:chgData name="Nishi, Kentaro" userId="99f4c19a-673e-4fa1-a403-bcbf0c906067" providerId="ADAL" clId="{44D9CD9E-10F7-4B1F-B4FF-E6D36C30C7C6}"/>
    <pc:docChg chg="modSld">
      <pc:chgData name="Nishi, Kentaro" userId="99f4c19a-673e-4fa1-a403-bcbf0c906067" providerId="ADAL" clId="{44D9CD9E-10F7-4B1F-B4FF-E6D36C30C7C6}" dt="2023-05-23T23:33:45.780" v="25" actId="1076"/>
      <pc:docMkLst>
        <pc:docMk/>
      </pc:docMkLst>
      <pc:sldChg chg="addSp modSp mod">
        <pc:chgData name="Nishi, Kentaro" userId="99f4c19a-673e-4fa1-a403-bcbf0c906067" providerId="ADAL" clId="{44D9CD9E-10F7-4B1F-B4FF-E6D36C30C7C6}" dt="2023-05-23T09:51:05.260" v="13" actId="20577"/>
        <pc:sldMkLst>
          <pc:docMk/>
          <pc:sldMk cId="2154837173" sldId="2147376577"/>
        </pc:sldMkLst>
        <pc:spChg chg="add mod">
          <ac:chgData name="Nishi, Kentaro" userId="99f4c19a-673e-4fa1-a403-bcbf0c906067" providerId="ADAL" clId="{44D9CD9E-10F7-4B1F-B4FF-E6D36C30C7C6}" dt="2023-05-23T09:51:05.260" v="13" actId="20577"/>
          <ac:spMkLst>
            <pc:docMk/>
            <pc:sldMk cId="2154837173" sldId="2147376577"/>
            <ac:spMk id="4" creationId="{1163DDE8-1150-4D0A-8D6E-7C25AEED9635}"/>
          </ac:spMkLst>
        </pc:spChg>
      </pc:sldChg>
      <pc:sldChg chg="addSp modSp mod">
        <pc:chgData name="Nishi, Kentaro" userId="99f4c19a-673e-4fa1-a403-bcbf0c906067" providerId="ADAL" clId="{44D9CD9E-10F7-4B1F-B4FF-E6D36C30C7C6}" dt="2023-05-23T23:33:45.780" v="25" actId="1076"/>
        <pc:sldMkLst>
          <pc:docMk/>
          <pc:sldMk cId="1305537022" sldId="2147376615"/>
        </pc:sldMkLst>
        <pc:spChg chg="add mod">
          <ac:chgData name="Nishi, Kentaro" userId="99f4c19a-673e-4fa1-a403-bcbf0c906067" providerId="ADAL" clId="{44D9CD9E-10F7-4B1F-B4FF-E6D36C30C7C6}" dt="2023-05-23T23:33:45.780" v="25" actId="1076"/>
          <ac:spMkLst>
            <pc:docMk/>
            <pc:sldMk cId="1305537022" sldId="2147376615"/>
            <ac:spMk id="3" creationId="{84D65286-A4AE-415A-A563-DEB54DF9C837}"/>
          </ac:spMkLst>
        </pc:spChg>
      </pc:sldChg>
    </pc:docChg>
  </pc:docChgLst>
  <pc:docChgLst>
    <pc:chgData name="Yagi, Riku" userId="092f3030-7069-45a1-8a72-8208e6901431" providerId="ADAL" clId="{404DAA14-7858-42B3-8ED3-A176AE3C905A}"/>
    <pc:docChg chg="custSel addSld delSld modSld modSection">
      <pc:chgData name="Yagi, Riku" userId="092f3030-7069-45a1-8a72-8208e6901431" providerId="ADAL" clId="{404DAA14-7858-42B3-8ED3-A176AE3C905A}" dt="2023-04-28T02:29:53.032" v="155" actId="20577"/>
      <pc:docMkLst>
        <pc:docMk/>
      </pc:docMkLst>
      <pc:sldChg chg="delSp modSp mod">
        <pc:chgData name="Yagi, Riku" userId="092f3030-7069-45a1-8a72-8208e6901431" providerId="ADAL" clId="{404DAA14-7858-42B3-8ED3-A176AE3C905A}" dt="2023-04-28T00:57:10.555" v="110" actId="14100"/>
        <pc:sldMkLst>
          <pc:docMk/>
          <pc:sldMk cId="3112048226" sldId="2147376544"/>
        </pc:sldMkLst>
        <pc:spChg chg="del">
          <ac:chgData name="Yagi, Riku" userId="092f3030-7069-45a1-8a72-8208e6901431" providerId="ADAL" clId="{404DAA14-7858-42B3-8ED3-A176AE3C905A}" dt="2023-04-28T00:56:57.957" v="109" actId="478"/>
          <ac:spMkLst>
            <pc:docMk/>
            <pc:sldMk cId="3112048226" sldId="2147376544"/>
            <ac:spMk id="12" creationId="{6615A87E-A8CD-4B3E-8AD8-1C1EE095FB9A}"/>
          </ac:spMkLst>
        </pc:spChg>
        <pc:spChg chg="del">
          <ac:chgData name="Yagi, Riku" userId="092f3030-7069-45a1-8a72-8208e6901431" providerId="ADAL" clId="{404DAA14-7858-42B3-8ED3-A176AE3C905A}" dt="2023-04-28T00:56:57.957" v="109" actId="478"/>
          <ac:spMkLst>
            <pc:docMk/>
            <pc:sldMk cId="3112048226" sldId="2147376544"/>
            <ac:spMk id="13" creationId="{E46BB9D9-49D3-4F98-8CE2-149ACCCA6BBD}"/>
          </ac:spMkLst>
        </pc:spChg>
        <pc:spChg chg="del">
          <ac:chgData name="Yagi, Riku" userId="092f3030-7069-45a1-8a72-8208e6901431" providerId="ADAL" clId="{404DAA14-7858-42B3-8ED3-A176AE3C905A}" dt="2023-04-28T00:56:57.957" v="109" actId="478"/>
          <ac:spMkLst>
            <pc:docMk/>
            <pc:sldMk cId="3112048226" sldId="2147376544"/>
            <ac:spMk id="14" creationId="{AFD48EAC-7301-4348-BFA2-35D1B89A5205}"/>
          </ac:spMkLst>
        </pc:spChg>
        <pc:spChg chg="del">
          <ac:chgData name="Yagi, Riku" userId="092f3030-7069-45a1-8a72-8208e6901431" providerId="ADAL" clId="{404DAA14-7858-42B3-8ED3-A176AE3C905A}" dt="2023-04-28T00:56:57.957" v="109" actId="478"/>
          <ac:spMkLst>
            <pc:docMk/>
            <pc:sldMk cId="3112048226" sldId="2147376544"/>
            <ac:spMk id="16" creationId="{FEFB3204-3214-4329-A500-6C8EE7D9D8EA}"/>
          </ac:spMkLst>
        </pc:spChg>
        <pc:spChg chg="del">
          <ac:chgData name="Yagi, Riku" userId="092f3030-7069-45a1-8a72-8208e6901431" providerId="ADAL" clId="{404DAA14-7858-42B3-8ED3-A176AE3C905A}" dt="2023-04-28T00:56:57.957" v="109" actId="478"/>
          <ac:spMkLst>
            <pc:docMk/>
            <pc:sldMk cId="3112048226" sldId="2147376544"/>
            <ac:spMk id="17" creationId="{DEF1B152-D47B-4FC5-BFD1-F53D6F0BF529}"/>
          </ac:spMkLst>
        </pc:spChg>
        <pc:spChg chg="del">
          <ac:chgData name="Yagi, Riku" userId="092f3030-7069-45a1-8a72-8208e6901431" providerId="ADAL" clId="{404DAA14-7858-42B3-8ED3-A176AE3C905A}" dt="2023-04-28T00:56:57.957" v="109" actId="478"/>
          <ac:spMkLst>
            <pc:docMk/>
            <pc:sldMk cId="3112048226" sldId="2147376544"/>
            <ac:spMk id="20" creationId="{67DB4E5E-7E08-4430-AF16-544269D25EF8}"/>
          </ac:spMkLst>
        </pc:spChg>
        <pc:spChg chg="mod">
          <ac:chgData name="Yagi, Riku" userId="092f3030-7069-45a1-8a72-8208e6901431" providerId="ADAL" clId="{404DAA14-7858-42B3-8ED3-A176AE3C905A}" dt="2023-04-28T00:57:10.555" v="110" actId="14100"/>
          <ac:spMkLst>
            <pc:docMk/>
            <pc:sldMk cId="3112048226" sldId="2147376544"/>
            <ac:spMk id="22" creationId="{7E424736-C581-4FE2-B644-E8F4902F00CF}"/>
          </ac:spMkLst>
        </pc:spChg>
        <pc:spChg chg="del">
          <ac:chgData name="Yagi, Riku" userId="092f3030-7069-45a1-8a72-8208e6901431" providerId="ADAL" clId="{404DAA14-7858-42B3-8ED3-A176AE3C905A}" dt="2023-04-28T00:56:52.783" v="108" actId="478"/>
          <ac:spMkLst>
            <pc:docMk/>
            <pc:sldMk cId="3112048226" sldId="2147376544"/>
            <ac:spMk id="24" creationId="{4975B185-E8ED-4740-8848-518F975F409C}"/>
          </ac:spMkLst>
        </pc:spChg>
        <pc:spChg chg="mod">
          <ac:chgData name="Yagi, Riku" userId="092f3030-7069-45a1-8a72-8208e6901431" providerId="ADAL" clId="{404DAA14-7858-42B3-8ED3-A176AE3C905A}" dt="2023-04-28T00:13:28.007" v="49" actId="20577"/>
          <ac:spMkLst>
            <pc:docMk/>
            <pc:sldMk cId="3112048226" sldId="2147376544"/>
            <ac:spMk id="26" creationId="{A3220A8B-96B0-434F-8BC8-4D321C80687D}"/>
          </ac:spMkLst>
        </pc:spChg>
        <pc:graphicFrameChg chg="del">
          <ac:chgData name="Yagi, Riku" userId="092f3030-7069-45a1-8a72-8208e6901431" providerId="ADAL" clId="{404DAA14-7858-42B3-8ED3-A176AE3C905A}" dt="2023-04-28T00:56:57.957" v="109" actId="478"/>
          <ac:graphicFrameMkLst>
            <pc:docMk/>
            <pc:sldMk cId="3112048226" sldId="2147376544"/>
            <ac:graphicFrameMk id="9" creationId="{D1AE6EC8-8DAC-4CAC-A4FA-CB3984753D44}"/>
          </ac:graphicFrameMkLst>
        </pc:graphicFrameChg>
        <pc:graphicFrameChg chg="del">
          <ac:chgData name="Yagi, Riku" userId="092f3030-7069-45a1-8a72-8208e6901431" providerId="ADAL" clId="{404DAA14-7858-42B3-8ED3-A176AE3C905A}" dt="2023-04-28T00:56:57.957" v="109" actId="478"/>
          <ac:graphicFrameMkLst>
            <pc:docMk/>
            <pc:sldMk cId="3112048226" sldId="2147376544"/>
            <ac:graphicFrameMk id="10" creationId="{F87B2612-1782-444C-A90A-0526AF785A04}"/>
          </ac:graphicFrameMkLst>
        </pc:graphicFrameChg>
        <pc:graphicFrameChg chg="del">
          <ac:chgData name="Yagi, Riku" userId="092f3030-7069-45a1-8a72-8208e6901431" providerId="ADAL" clId="{404DAA14-7858-42B3-8ED3-A176AE3C905A}" dt="2023-04-28T00:56:57.957" v="109" actId="478"/>
          <ac:graphicFrameMkLst>
            <pc:docMk/>
            <pc:sldMk cId="3112048226" sldId="2147376544"/>
            <ac:graphicFrameMk id="11" creationId="{AE93133D-B08C-418A-8D57-F814D54BAACF}"/>
          </ac:graphicFrameMkLst>
        </pc:graphicFrameChg>
        <pc:graphicFrameChg chg="del">
          <ac:chgData name="Yagi, Riku" userId="092f3030-7069-45a1-8a72-8208e6901431" providerId="ADAL" clId="{404DAA14-7858-42B3-8ED3-A176AE3C905A}" dt="2023-04-28T00:56:57.957" v="109" actId="478"/>
          <ac:graphicFrameMkLst>
            <pc:docMk/>
            <pc:sldMk cId="3112048226" sldId="2147376544"/>
            <ac:graphicFrameMk id="15" creationId="{E6811260-9C8A-4917-A11A-49684269BF7E}"/>
          </ac:graphicFrameMkLst>
        </pc:graphicFrameChg>
        <pc:cxnChg chg="del">
          <ac:chgData name="Yagi, Riku" userId="092f3030-7069-45a1-8a72-8208e6901431" providerId="ADAL" clId="{404DAA14-7858-42B3-8ED3-A176AE3C905A}" dt="2023-04-28T00:56:57.957" v="109" actId="478"/>
          <ac:cxnSpMkLst>
            <pc:docMk/>
            <pc:sldMk cId="3112048226" sldId="2147376544"/>
            <ac:cxnSpMk id="21" creationId="{74FFBE4B-ACEE-46BA-970D-E0091FB96818}"/>
          </ac:cxnSpMkLst>
        </pc:cxnChg>
      </pc:sldChg>
      <pc:sldChg chg="modSp mod">
        <pc:chgData name="Yagi, Riku" userId="092f3030-7069-45a1-8a72-8208e6901431" providerId="ADAL" clId="{404DAA14-7858-42B3-8ED3-A176AE3C905A}" dt="2023-04-28T02:29:53.032" v="155" actId="20577"/>
        <pc:sldMkLst>
          <pc:docMk/>
          <pc:sldMk cId="546843826" sldId="2147376574"/>
        </pc:sldMkLst>
        <pc:spChg chg="mod">
          <ac:chgData name="Yagi, Riku" userId="092f3030-7069-45a1-8a72-8208e6901431" providerId="ADAL" clId="{404DAA14-7858-42B3-8ED3-A176AE3C905A}" dt="2023-04-28T02:29:53.032" v="155" actId="20577"/>
          <ac:spMkLst>
            <pc:docMk/>
            <pc:sldMk cId="546843826" sldId="2147376574"/>
            <ac:spMk id="13" creationId="{A0CEB9DE-83F8-4BC1-9354-6FC90A45DF68}"/>
          </ac:spMkLst>
        </pc:spChg>
      </pc:sldChg>
      <pc:sldChg chg="addSp delSp modSp mod">
        <pc:chgData name="Yagi, Riku" userId="092f3030-7069-45a1-8a72-8208e6901431" providerId="ADAL" clId="{404DAA14-7858-42B3-8ED3-A176AE3C905A}" dt="2023-04-28T00:51:05.931" v="106" actId="478"/>
        <pc:sldMkLst>
          <pc:docMk/>
          <pc:sldMk cId="180363097" sldId="2147376596"/>
        </pc:sldMkLst>
        <pc:spChg chg="del">
          <ac:chgData name="Yagi, Riku" userId="092f3030-7069-45a1-8a72-8208e6901431" providerId="ADAL" clId="{404DAA14-7858-42B3-8ED3-A176AE3C905A}" dt="2023-04-28T00:49:18.450" v="57" actId="478"/>
          <ac:spMkLst>
            <pc:docMk/>
            <pc:sldMk cId="180363097" sldId="2147376596"/>
            <ac:spMk id="5" creationId="{FEF0D25D-23B7-43F9-8A7D-02CA2ECB13BE}"/>
          </ac:spMkLst>
        </pc:spChg>
        <pc:spChg chg="mod">
          <ac:chgData name="Yagi, Riku" userId="092f3030-7069-45a1-8a72-8208e6901431" providerId="ADAL" clId="{404DAA14-7858-42B3-8ED3-A176AE3C905A}" dt="2023-04-28T00:50:31.527" v="93" actId="1076"/>
          <ac:spMkLst>
            <pc:docMk/>
            <pc:sldMk cId="180363097" sldId="2147376596"/>
            <ac:spMk id="13" creationId="{E46BB9D9-49D3-4F98-8CE2-149ACCCA6BBD}"/>
          </ac:spMkLst>
        </pc:spChg>
        <pc:spChg chg="mod">
          <ac:chgData name="Yagi, Riku" userId="092f3030-7069-45a1-8a72-8208e6901431" providerId="ADAL" clId="{404DAA14-7858-42B3-8ED3-A176AE3C905A}" dt="2023-04-28T00:50:40.489" v="96" actId="553"/>
          <ac:spMkLst>
            <pc:docMk/>
            <pc:sldMk cId="180363097" sldId="2147376596"/>
            <ac:spMk id="14" creationId="{AFD48EAC-7301-4348-BFA2-35D1B89A5205}"/>
          </ac:spMkLst>
        </pc:spChg>
        <pc:spChg chg="mod">
          <ac:chgData name="Yagi, Riku" userId="092f3030-7069-45a1-8a72-8208e6901431" providerId="ADAL" clId="{404DAA14-7858-42B3-8ED3-A176AE3C905A}" dt="2023-04-28T00:50:31.527" v="93" actId="1076"/>
          <ac:spMkLst>
            <pc:docMk/>
            <pc:sldMk cId="180363097" sldId="2147376596"/>
            <ac:spMk id="16" creationId="{FEFB3204-3214-4329-A500-6C8EE7D9D8EA}"/>
          </ac:spMkLst>
        </pc:spChg>
        <pc:spChg chg="mod">
          <ac:chgData name="Yagi, Riku" userId="092f3030-7069-45a1-8a72-8208e6901431" providerId="ADAL" clId="{404DAA14-7858-42B3-8ED3-A176AE3C905A}" dt="2023-04-28T00:50:31.527" v="93" actId="1076"/>
          <ac:spMkLst>
            <pc:docMk/>
            <pc:sldMk cId="180363097" sldId="2147376596"/>
            <ac:spMk id="17" creationId="{DEF1B152-D47B-4FC5-BFD1-F53D6F0BF529}"/>
          </ac:spMkLst>
        </pc:spChg>
        <pc:spChg chg="del">
          <ac:chgData name="Yagi, Riku" userId="092f3030-7069-45a1-8a72-8208e6901431" providerId="ADAL" clId="{404DAA14-7858-42B3-8ED3-A176AE3C905A}" dt="2023-04-28T00:51:05.931" v="106" actId="478"/>
          <ac:spMkLst>
            <pc:docMk/>
            <pc:sldMk cId="180363097" sldId="2147376596"/>
            <ac:spMk id="18" creationId="{017A9C7F-5AB1-48E5-948A-D5C2D43BAECA}"/>
          </ac:spMkLst>
        </pc:spChg>
        <pc:spChg chg="mod">
          <ac:chgData name="Yagi, Riku" userId="092f3030-7069-45a1-8a72-8208e6901431" providerId="ADAL" clId="{404DAA14-7858-42B3-8ED3-A176AE3C905A}" dt="2023-04-28T00:12:28.263" v="28" actId="6549"/>
          <ac:spMkLst>
            <pc:docMk/>
            <pc:sldMk cId="180363097" sldId="2147376596"/>
            <ac:spMk id="26" creationId="{A3220A8B-96B0-434F-8BC8-4D321C80687D}"/>
          </ac:spMkLst>
        </pc:spChg>
        <pc:graphicFrameChg chg="mod modGraphic">
          <ac:chgData name="Yagi, Riku" userId="092f3030-7069-45a1-8a72-8208e6901431" providerId="ADAL" clId="{404DAA14-7858-42B3-8ED3-A176AE3C905A}" dt="2023-04-28T00:51:03.112" v="105" actId="1036"/>
          <ac:graphicFrameMkLst>
            <pc:docMk/>
            <pc:sldMk cId="180363097" sldId="2147376596"/>
            <ac:graphicFrameMk id="9" creationId="{D1AE6EC8-8DAC-4CAC-A4FA-CB3984753D44}"/>
          </ac:graphicFrameMkLst>
        </pc:graphicFrameChg>
        <pc:graphicFrameChg chg="del mod">
          <ac:chgData name="Yagi, Riku" userId="092f3030-7069-45a1-8a72-8208e6901431" providerId="ADAL" clId="{404DAA14-7858-42B3-8ED3-A176AE3C905A}" dt="2023-04-28T00:50:25.901" v="92" actId="478"/>
          <ac:graphicFrameMkLst>
            <pc:docMk/>
            <pc:sldMk cId="180363097" sldId="2147376596"/>
            <ac:graphicFrameMk id="10" creationId="{F87B2612-1782-444C-A90A-0526AF785A04}"/>
          </ac:graphicFrameMkLst>
        </pc:graphicFrameChg>
        <pc:graphicFrameChg chg="del">
          <ac:chgData name="Yagi, Riku" userId="092f3030-7069-45a1-8a72-8208e6901431" providerId="ADAL" clId="{404DAA14-7858-42B3-8ED3-A176AE3C905A}" dt="2023-04-28T00:50:21.862" v="91" actId="478"/>
          <ac:graphicFrameMkLst>
            <pc:docMk/>
            <pc:sldMk cId="180363097" sldId="2147376596"/>
            <ac:graphicFrameMk id="11" creationId="{AE93133D-B08C-418A-8D57-F814D54BAACF}"/>
          </ac:graphicFrameMkLst>
        </pc:graphicFrameChg>
        <pc:graphicFrameChg chg="del mod">
          <ac:chgData name="Yagi, Riku" userId="092f3030-7069-45a1-8a72-8208e6901431" providerId="ADAL" clId="{404DAA14-7858-42B3-8ED3-A176AE3C905A}" dt="2023-04-28T00:50:25.901" v="92" actId="478"/>
          <ac:graphicFrameMkLst>
            <pc:docMk/>
            <pc:sldMk cId="180363097" sldId="2147376596"/>
            <ac:graphicFrameMk id="15" creationId="{E6811260-9C8A-4917-A11A-49684269BF7E}"/>
          </ac:graphicFrameMkLst>
        </pc:graphicFrameChg>
        <pc:graphicFrameChg chg="add mod">
          <ac:chgData name="Yagi, Riku" userId="092f3030-7069-45a1-8a72-8208e6901431" providerId="ADAL" clId="{404DAA14-7858-42B3-8ED3-A176AE3C905A}" dt="2023-04-28T00:51:03.112" v="105" actId="1036"/>
          <ac:graphicFrameMkLst>
            <pc:docMk/>
            <pc:sldMk cId="180363097" sldId="2147376596"/>
            <ac:graphicFrameMk id="19" creationId="{10C6FE56-590D-448C-8389-E2F145DE34E5}"/>
          </ac:graphicFrameMkLst>
        </pc:graphicFrameChg>
        <pc:graphicFrameChg chg="add mod">
          <ac:chgData name="Yagi, Riku" userId="092f3030-7069-45a1-8a72-8208e6901431" providerId="ADAL" clId="{404DAA14-7858-42B3-8ED3-A176AE3C905A}" dt="2023-04-28T00:50:47.905" v="98" actId="571"/>
          <ac:graphicFrameMkLst>
            <pc:docMk/>
            <pc:sldMk cId="180363097" sldId="2147376596"/>
            <ac:graphicFrameMk id="22" creationId="{0EE2B2A2-638B-47DC-A630-9A2D4E4F037E}"/>
          </ac:graphicFrameMkLst>
        </pc:graphicFrameChg>
        <pc:graphicFrameChg chg="add mod">
          <ac:chgData name="Yagi, Riku" userId="092f3030-7069-45a1-8a72-8208e6901431" providerId="ADAL" clId="{404DAA14-7858-42B3-8ED3-A176AE3C905A}" dt="2023-04-28T00:50:53.472" v="99" actId="571"/>
          <ac:graphicFrameMkLst>
            <pc:docMk/>
            <pc:sldMk cId="180363097" sldId="2147376596"/>
            <ac:graphicFrameMk id="23" creationId="{EFA4CD1D-0F97-4861-9490-96727307B059}"/>
          </ac:graphicFrameMkLst>
        </pc:graphicFrameChg>
        <pc:graphicFrameChg chg="add mod">
          <ac:chgData name="Yagi, Riku" userId="092f3030-7069-45a1-8a72-8208e6901431" providerId="ADAL" clId="{404DAA14-7858-42B3-8ED3-A176AE3C905A}" dt="2023-04-28T00:50:53.472" v="99" actId="571"/>
          <ac:graphicFrameMkLst>
            <pc:docMk/>
            <pc:sldMk cId="180363097" sldId="2147376596"/>
            <ac:graphicFrameMk id="24" creationId="{2EF39B4A-E501-4611-A44C-D84D20B4DD4D}"/>
          </ac:graphicFrameMkLst>
        </pc:graphicFrameChg>
      </pc:sldChg>
      <pc:sldChg chg="modSp del mod">
        <pc:chgData name="Yagi, Riku" userId="092f3030-7069-45a1-8a72-8208e6901431" providerId="ADAL" clId="{404DAA14-7858-42B3-8ED3-A176AE3C905A}" dt="2023-04-28T00:51:08.012" v="107" actId="47"/>
        <pc:sldMkLst>
          <pc:docMk/>
          <pc:sldMk cId="3341992262" sldId="2147376597"/>
        </pc:sldMkLst>
        <pc:spChg chg="mod">
          <ac:chgData name="Yagi, Riku" userId="092f3030-7069-45a1-8a72-8208e6901431" providerId="ADAL" clId="{404DAA14-7858-42B3-8ED3-A176AE3C905A}" dt="2023-04-28T00:12:49.173" v="29"/>
          <ac:spMkLst>
            <pc:docMk/>
            <pc:sldMk cId="3341992262" sldId="2147376597"/>
            <ac:spMk id="26" creationId="{A3220A8B-96B0-434F-8BC8-4D321C80687D}"/>
          </ac:spMkLst>
        </pc:spChg>
      </pc:sldChg>
      <pc:sldChg chg="modSp del mod">
        <pc:chgData name="Yagi, Riku" userId="092f3030-7069-45a1-8a72-8208e6901431" providerId="ADAL" clId="{404DAA14-7858-42B3-8ED3-A176AE3C905A}" dt="2023-04-28T00:58:15.608" v="121" actId="47"/>
        <pc:sldMkLst>
          <pc:docMk/>
          <pc:sldMk cId="1706786740" sldId="2147376602"/>
        </pc:sldMkLst>
        <pc:spChg chg="mod">
          <ac:chgData name="Yagi, Riku" userId="092f3030-7069-45a1-8a72-8208e6901431" providerId="ADAL" clId="{404DAA14-7858-42B3-8ED3-A176AE3C905A}" dt="2023-04-28T00:14:34.468" v="50"/>
          <ac:spMkLst>
            <pc:docMk/>
            <pc:sldMk cId="1706786740" sldId="2147376602"/>
            <ac:spMk id="26" creationId="{A3220A8B-96B0-434F-8BC8-4D321C80687D}"/>
          </ac:spMkLst>
        </pc:spChg>
      </pc:sldChg>
      <pc:sldChg chg="modSp del mod">
        <pc:chgData name="Yagi, Riku" userId="092f3030-7069-45a1-8a72-8208e6901431" providerId="ADAL" clId="{404DAA14-7858-42B3-8ED3-A176AE3C905A}" dt="2023-04-28T00:58:15.608" v="121" actId="47"/>
        <pc:sldMkLst>
          <pc:docMk/>
          <pc:sldMk cId="2003672325" sldId="2147376603"/>
        </pc:sldMkLst>
        <pc:spChg chg="mod">
          <ac:chgData name="Yagi, Riku" userId="092f3030-7069-45a1-8a72-8208e6901431" providerId="ADAL" clId="{404DAA14-7858-42B3-8ED3-A176AE3C905A}" dt="2023-04-28T00:16:08.701" v="51"/>
          <ac:spMkLst>
            <pc:docMk/>
            <pc:sldMk cId="2003672325" sldId="2147376603"/>
            <ac:spMk id="26" creationId="{A3220A8B-96B0-434F-8BC8-4D321C80687D}"/>
          </ac:spMkLst>
        </pc:spChg>
      </pc:sldChg>
      <pc:sldChg chg="modSp del mod">
        <pc:chgData name="Yagi, Riku" userId="092f3030-7069-45a1-8a72-8208e6901431" providerId="ADAL" clId="{404DAA14-7858-42B3-8ED3-A176AE3C905A}" dt="2023-04-28T00:58:15.608" v="121" actId="47"/>
        <pc:sldMkLst>
          <pc:docMk/>
          <pc:sldMk cId="2963413309" sldId="2147376604"/>
        </pc:sldMkLst>
        <pc:spChg chg="mod">
          <ac:chgData name="Yagi, Riku" userId="092f3030-7069-45a1-8a72-8208e6901431" providerId="ADAL" clId="{404DAA14-7858-42B3-8ED3-A176AE3C905A}" dt="2023-04-28T00:16:13.606" v="52"/>
          <ac:spMkLst>
            <pc:docMk/>
            <pc:sldMk cId="2963413309" sldId="2147376604"/>
            <ac:spMk id="26" creationId="{A3220A8B-96B0-434F-8BC8-4D321C80687D}"/>
          </ac:spMkLst>
        </pc:spChg>
      </pc:sldChg>
      <pc:sldChg chg="modSp del mod">
        <pc:chgData name="Yagi, Riku" userId="092f3030-7069-45a1-8a72-8208e6901431" providerId="ADAL" clId="{404DAA14-7858-42B3-8ED3-A176AE3C905A}" dt="2023-04-28T00:58:15.608" v="121" actId="47"/>
        <pc:sldMkLst>
          <pc:docMk/>
          <pc:sldMk cId="3108754821" sldId="2147376605"/>
        </pc:sldMkLst>
        <pc:spChg chg="mod">
          <ac:chgData name="Yagi, Riku" userId="092f3030-7069-45a1-8a72-8208e6901431" providerId="ADAL" clId="{404DAA14-7858-42B3-8ED3-A176AE3C905A}" dt="2023-04-28T00:16:21.081" v="53"/>
          <ac:spMkLst>
            <pc:docMk/>
            <pc:sldMk cId="3108754821" sldId="2147376605"/>
            <ac:spMk id="26" creationId="{A3220A8B-96B0-434F-8BC8-4D321C80687D}"/>
          </ac:spMkLst>
        </pc:spChg>
      </pc:sldChg>
      <pc:sldChg chg="modSp del mod">
        <pc:chgData name="Yagi, Riku" userId="092f3030-7069-45a1-8a72-8208e6901431" providerId="ADAL" clId="{404DAA14-7858-42B3-8ED3-A176AE3C905A}" dt="2023-04-28T00:58:15.608" v="121" actId="47"/>
        <pc:sldMkLst>
          <pc:docMk/>
          <pc:sldMk cId="3048467450" sldId="2147376606"/>
        </pc:sldMkLst>
        <pc:spChg chg="mod">
          <ac:chgData name="Yagi, Riku" userId="092f3030-7069-45a1-8a72-8208e6901431" providerId="ADAL" clId="{404DAA14-7858-42B3-8ED3-A176AE3C905A}" dt="2023-04-28T00:16:26.026" v="54"/>
          <ac:spMkLst>
            <pc:docMk/>
            <pc:sldMk cId="3048467450" sldId="2147376606"/>
            <ac:spMk id="26" creationId="{A3220A8B-96B0-434F-8BC8-4D321C80687D}"/>
          </ac:spMkLst>
        </pc:spChg>
      </pc:sldChg>
      <pc:sldChg chg="addSp delSp modSp add mod">
        <pc:chgData name="Yagi, Riku" userId="092f3030-7069-45a1-8a72-8208e6901431" providerId="ADAL" clId="{404DAA14-7858-42B3-8ED3-A176AE3C905A}" dt="2023-04-28T00:58:06.282" v="120" actId="552"/>
        <pc:sldMkLst>
          <pc:docMk/>
          <pc:sldMk cId="2657891735" sldId="2147376607"/>
        </pc:sldMkLst>
        <pc:spChg chg="del">
          <ac:chgData name="Yagi, Riku" userId="092f3030-7069-45a1-8a72-8208e6901431" providerId="ADAL" clId="{404DAA14-7858-42B3-8ED3-A176AE3C905A}" dt="2023-04-28T00:57:29.385" v="112" actId="478"/>
          <ac:spMkLst>
            <pc:docMk/>
            <pc:sldMk cId="2657891735" sldId="2147376607"/>
            <ac:spMk id="5" creationId="{FEF0D25D-23B7-43F9-8A7D-02CA2ECB13BE}"/>
          </ac:spMkLst>
        </pc:spChg>
        <pc:spChg chg="add mod">
          <ac:chgData name="Yagi, Riku" userId="092f3030-7069-45a1-8a72-8208e6901431" providerId="ADAL" clId="{404DAA14-7858-42B3-8ED3-A176AE3C905A}" dt="2023-04-28T00:57:58.861" v="118" actId="1076"/>
          <ac:spMkLst>
            <pc:docMk/>
            <pc:sldMk cId="2657891735" sldId="2147376607"/>
            <ac:spMk id="11" creationId="{02DE354F-659D-452A-B452-81E7F1D13DB0}"/>
          </ac:spMkLst>
        </pc:spChg>
        <pc:spChg chg="add mod">
          <ac:chgData name="Yagi, Riku" userId="092f3030-7069-45a1-8a72-8208e6901431" providerId="ADAL" clId="{404DAA14-7858-42B3-8ED3-A176AE3C905A}" dt="2023-04-28T00:57:58.861" v="118" actId="1076"/>
          <ac:spMkLst>
            <pc:docMk/>
            <pc:sldMk cId="2657891735" sldId="2147376607"/>
            <ac:spMk id="12" creationId="{572FED04-C66E-44D0-9E47-E97A67D4FE80}"/>
          </ac:spMkLst>
        </pc:spChg>
        <pc:spChg chg="add mod">
          <ac:chgData name="Yagi, Riku" userId="092f3030-7069-45a1-8a72-8208e6901431" providerId="ADAL" clId="{404DAA14-7858-42B3-8ED3-A176AE3C905A}" dt="2023-04-28T00:57:58.861" v="118" actId="1076"/>
          <ac:spMkLst>
            <pc:docMk/>
            <pc:sldMk cId="2657891735" sldId="2147376607"/>
            <ac:spMk id="13" creationId="{8FB4151F-9694-4DC6-824E-D335FB04B89E}"/>
          </ac:spMkLst>
        </pc:spChg>
        <pc:spChg chg="add mod">
          <ac:chgData name="Yagi, Riku" userId="092f3030-7069-45a1-8a72-8208e6901431" providerId="ADAL" clId="{404DAA14-7858-42B3-8ED3-A176AE3C905A}" dt="2023-04-28T00:57:58.861" v="118" actId="1076"/>
          <ac:spMkLst>
            <pc:docMk/>
            <pc:sldMk cId="2657891735" sldId="2147376607"/>
            <ac:spMk id="14" creationId="{74625B7A-FF01-4A8A-9B2B-A0C522C884E0}"/>
          </ac:spMkLst>
        </pc:spChg>
        <pc:spChg chg="add mod">
          <ac:chgData name="Yagi, Riku" userId="092f3030-7069-45a1-8a72-8208e6901431" providerId="ADAL" clId="{404DAA14-7858-42B3-8ED3-A176AE3C905A}" dt="2023-04-28T00:57:58.861" v="118" actId="1076"/>
          <ac:spMkLst>
            <pc:docMk/>
            <pc:sldMk cId="2657891735" sldId="2147376607"/>
            <ac:spMk id="15" creationId="{A625C7D5-1229-417D-84BF-A1C4E8373E70}"/>
          </ac:spMkLst>
        </pc:spChg>
        <pc:spChg chg="del">
          <ac:chgData name="Yagi, Riku" userId="092f3030-7069-45a1-8a72-8208e6901431" providerId="ADAL" clId="{404DAA14-7858-42B3-8ED3-A176AE3C905A}" dt="2023-04-28T00:57:29.385" v="112" actId="478"/>
          <ac:spMkLst>
            <pc:docMk/>
            <pc:sldMk cId="2657891735" sldId="2147376607"/>
            <ac:spMk id="18" creationId="{6D1729BB-0EB1-4078-B6C7-36865C66E1B4}"/>
          </ac:spMkLst>
        </pc:spChg>
        <pc:spChg chg="del">
          <ac:chgData name="Yagi, Riku" userId="092f3030-7069-45a1-8a72-8208e6901431" providerId="ADAL" clId="{404DAA14-7858-42B3-8ED3-A176AE3C905A}" dt="2023-04-28T00:57:29.385" v="112" actId="478"/>
          <ac:spMkLst>
            <pc:docMk/>
            <pc:sldMk cId="2657891735" sldId="2147376607"/>
            <ac:spMk id="22" creationId="{7E424736-C581-4FE2-B644-E8F4902F00CF}"/>
          </ac:spMkLst>
        </pc:spChg>
        <pc:spChg chg="mod">
          <ac:chgData name="Yagi, Riku" userId="092f3030-7069-45a1-8a72-8208e6901431" providerId="ADAL" clId="{404DAA14-7858-42B3-8ED3-A176AE3C905A}" dt="2023-04-28T00:58:06.282" v="120" actId="552"/>
          <ac:spMkLst>
            <pc:docMk/>
            <pc:sldMk cId="2657891735" sldId="2147376607"/>
            <ac:spMk id="23" creationId="{A1D5FDF9-9DA0-4F3A-A553-1CC77C647182}"/>
          </ac:spMkLst>
        </pc:spChg>
        <pc:spChg chg="add mod">
          <ac:chgData name="Yagi, Riku" userId="092f3030-7069-45a1-8a72-8208e6901431" providerId="ADAL" clId="{404DAA14-7858-42B3-8ED3-A176AE3C905A}" dt="2023-04-28T00:58:06.282" v="120" actId="552"/>
          <ac:spMkLst>
            <pc:docMk/>
            <pc:sldMk cId="2657891735" sldId="2147376607"/>
            <ac:spMk id="24" creationId="{AF346B92-5546-4A0F-83F3-19448BE06FDF}"/>
          </ac:spMkLst>
        </pc:spChg>
        <pc:graphicFrameChg chg="add mod">
          <ac:chgData name="Yagi, Riku" userId="092f3030-7069-45a1-8a72-8208e6901431" providerId="ADAL" clId="{404DAA14-7858-42B3-8ED3-A176AE3C905A}" dt="2023-04-28T00:57:58.861" v="118" actId="1076"/>
          <ac:graphicFrameMkLst>
            <pc:docMk/>
            <pc:sldMk cId="2657891735" sldId="2147376607"/>
            <ac:graphicFrameMk id="10" creationId="{F5D835BE-4565-4E0D-B668-E6286705F83D}"/>
          </ac:graphicFrameMkLst>
        </pc:graphicFrameChg>
        <pc:graphicFrameChg chg="add mod">
          <ac:chgData name="Yagi, Riku" userId="092f3030-7069-45a1-8a72-8208e6901431" providerId="ADAL" clId="{404DAA14-7858-42B3-8ED3-A176AE3C905A}" dt="2023-04-28T00:57:58.861" v="118" actId="1076"/>
          <ac:graphicFrameMkLst>
            <pc:docMk/>
            <pc:sldMk cId="2657891735" sldId="2147376607"/>
            <ac:graphicFrameMk id="17" creationId="{402961C9-64DB-49BD-BBF6-5948E4ADC81F}"/>
          </ac:graphicFrameMkLst>
        </pc:graphicFrameChg>
        <pc:graphicFrameChg chg="add mod">
          <ac:chgData name="Yagi, Riku" userId="092f3030-7069-45a1-8a72-8208e6901431" providerId="ADAL" clId="{404DAA14-7858-42B3-8ED3-A176AE3C905A}" dt="2023-04-28T00:57:58.861" v="118" actId="1076"/>
          <ac:graphicFrameMkLst>
            <pc:docMk/>
            <pc:sldMk cId="2657891735" sldId="2147376607"/>
            <ac:graphicFrameMk id="20" creationId="{8CFAE8A5-4E96-40E0-A8B4-8FED013EA55B}"/>
          </ac:graphicFrameMkLst>
        </pc:graphicFrameChg>
        <pc:graphicFrameChg chg="add mod">
          <ac:chgData name="Yagi, Riku" userId="092f3030-7069-45a1-8a72-8208e6901431" providerId="ADAL" clId="{404DAA14-7858-42B3-8ED3-A176AE3C905A}" dt="2023-04-28T00:57:58.861" v="118" actId="1076"/>
          <ac:graphicFrameMkLst>
            <pc:docMk/>
            <pc:sldMk cId="2657891735" sldId="2147376607"/>
            <ac:graphicFrameMk id="21" creationId="{E1A605B4-FB98-49AD-B87C-493144A829B0}"/>
          </ac:graphicFrameMkLst>
        </pc:graphicFrameChg>
        <pc:cxnChg chg="add del mod">
          <ac:chgData name="Yagi, Riku" userId="092f3030-7069-45a1-8a72-8208e6901431" providerId="ADAL" clId="{404DAA14-7858-42B3-8ED3-A176AE3C905A}" dt="2023-04-28T00:57:43.641" v="114" actId="478"/>
          <ac:cxnSpMkLst>
            <pc:docMk/>
            <pc:sldMk cId="2657891735" sldId="2147376607"/>
            <ac:cxnSpMk id="16" creationId="{FC9C269C-268D-4FA2-A24C-80D74543565E}"/>
          </ac:cxnSpMkLst>
        </pc:cxnChg>
        <pc:cxnChg chg="del">
          <ac:chgData name="Yagi, Riku" userId="092f3030-7069-45a1-8a72-8208e6901431" providerId="ADAL" clId="{404DAA14-7858-42B3-8ED3-A176AE3C905A}" dt="2023-04-28T00:57:29.385" v="112" actId="478"/>
          <ac:cxnSpMkLst>
            <pc:docMk/>
            <pc:sldMk cId="2657891735" sldId="2147376607"/>
            <ac:cxnSpMk id="19" creationId="{77CC8FD1-B29B-4261-9498-CE4394400580}"/>
          </ac:cxnSpMkLst>
        </pc:cxnChg>
        <pc:cxnChg chg="add mod">
          <ac:chgData name="Yagi, Riku" userId="092f3030-7069-45a1-8a72-8208e6901431" providerId="ADAL" clId="{404DAA14-7858-42B3-8ED3-A176AE3C905A}" dt="2023-04-28T00:57:58.861" v="118" actId="1076"/>
          <ac:cxnSpMkLst>
            <pc:docMk/>
            <pc:sldMk cId="2657891735" sldId="2147376607"/>
            <ac:cxnSpMk id="25" creationId="{E8C70B7F-C34E-476F-9829-2D78701E02B6}"/>
          </ac:cxnSpMkLst>
        </pc:cxnChg>
      </pc:sldChg>
      <pc:sldChg chg="modSp add mod">
        <pc:chgData name="Yagi, Riku" userId="092f3030-7069-45a1-8a72-8208e6901431" providerId="ADAL" clId="{404DAA14-7858-42B3-8ED3-A176AE3C905A}" dt="2023-04-28T00:58:33.093" v="142" actId="20577"/>
        <pc:sldMkLst>
          <pc:docMk/>
          <pc:sldMk cId="2355929026" sldId="2147376608"/>
        </pc:sldMkLst>
        <pc:spChg chg="mod">
          <ac:chgData name="Yagi, Riku" userId="092f3030-7069-45a1-8a72-8208e6901431" providerId="ADAL" clId="{404DAA14-7858-42B3-8ED3-A176AE3C905A}" dt="2023-04-28T00:58:33.093" v="142" actId="20577"/>
          <ac:spMkLst>
            <pc:docMk/>
            <pc:sldMk cId="2355929026" sldId="2147376608"/>
            <ac:spMk id="23" creationId="{A1D5FDF9-9DA0-4F3A-A553-1CC77C647182}"/>
          </ac:spMkLst>
        </pc:spChg>
      </pc:sldChg>
      <pc:sldChg chg="modSp add mod replId">
        <pc:chgData name="Yagi, Riku" userId="092f3030-7069-45a1-8a72-8208e6901431" providerId="ADAL" clId="{404DAA14-7858-42B3-8ED3-A176AE3C905A}" dt="2023-04-28T00:58:36.398" v="143"/>
        <pc:sldMkLst>
          <pc:docMk/>
          <pc:sldMk cId="827989469" sldId="2147376609"/>
        </pc:sldMkLst>
        <pc:spChg chg="mod">
          <ac:chgData name="Yagi, Riku" userId="092f3030-7069-45a1-8a72-8208e6901431" providerId="ADAL" clId="{404DAA14-7858-42B3-8ED3-A176AE3C905A}" dt="2023-04-28T00:58:36.398" v="143"/>
          <ac:spMkLst>
            <pc:docMk/>
            <pc:sldMk cId="827989469" sldId="2147376609"/>
            <ac:spMk id="23" creationId="{A1D5FDF9-9DA0-4F3A-A553-1CC77C647182}"/>
          </ac:spMkLst>
        </pc:spChg>
      </pc:sldChg>
      <pc:sldChg chg="modSp add mod">
        <pc:chgData name="Yagi, Riku" userId="092f3030-7069-45a1-8a72-8208e6901431" providerId="ADAL" clId="{404DAA14-7858-42B3-8ED3-A176AE3C905A}" dt="2023-04-28T00:58:40.910" v="147" actId="20577"/>
        <pc:sldMkLst>
          <pc:docMk/>
          <pc:sldMk cId="3627105424" sldId="2147376610"/>
        </pc:sldMkLst>
        <pc:spChg chg="mod">
          <ac:chgData name="Yagi, Riku" userId="092f3030-7069-45a1-8a72-8208e6901431" providerId="ADAL" clId="{404DAA14-7858-42B3-8ED3-A176AE3C905A}" dt="2023-04-28T00:58:40.910" v="147" actId="20577"/>
          <ac:spMkLst>
            <pc:docMk/>
            <pc:sldMk cId="3627105424" sldId="2147376610"/>
            <ac:spMk id="23" creationId="{A1D5FDF9-9DA0-4F3A-A553-1CC77C647182}"/>
          </ac:spMkLst>
        </pc:spChg>
      </pc:sldChg>
      <pc:sldChg chg="modSp add mod replId">
        <pc:chgData name="Yagi, Riku" userId="092f3030-7069-45a1-8a72-8208e6901431" providerId="ADAL" clId="{404DAA14-7858-42B3-8ED3-A176AE3C905A}" dt="2023-04-28T00:58:44.274" v="148"/>
        <pc:sldMkLst>
          <pc:docMk/>
          <pc:sldMk cId="2436708289" sldId="2147376611"/>
        </pc:sldMkLst>
        <pc:spChg chg="mod">
          <ac:chgData name="Yagi, Riku" userId="092f3030-7069-45a1-8a72-8208e6901431" providerId="ADAL" clId="{404DAA14-7858-42B3-8ED3-A176AE3C905A}" dt="2023-04-28T00:58:44.274" v="148"/>
          <ac:spMkLst>
            <pc:docMk/>
            <pc:sldMk cId="2436708289" sldId="2147376611"/>
            <ac:spMk id="23" creationId="{A1D5FDF9-9DA0-4F3A-A553-1CC77C647182}"/>
          </ac:spMkLst>
        </pc:spChg>
      </pc:sldChg>
    </pc:docChg>
  </pc:docChgLst>
  <pc:docChgLst>
    <pc:chgData name="Yagi, Riku" userId="092f3030-7069-45a1-8a72-8208e6901431" providerId="ADAL" clId="{3CB81B68-FC29-4C97-8A8B-1F5D6F25C566}"/>
    <pc:docChg chg="undo custSel modSld">
      <pc:chgData name="Yagi, Riku" userId="092f3030-7069-45a1-8a72-8208e6901431" providerId="ADAL" clId="{3CB81B68-FC29-4C97-8A8B-1F5D6F25C566}" dt="2023-05-09T10:42:01.432" v="881"/>
      <pc:docMkLst>
        <pc:docMk/>
      </pc:docMkLst>
      <pc:sldChg chg="modSp mod">
        <pc:chgData name="Yagi, Riku" userId="092f3030-7069-45a1-8a72-8208e6901431" providerId="ADAL" clId="{3CB81B68-FC29-4C97-8A8B-1F5D6F25C566}" dt="2023-05-09T08:09:01.130" v="553" actId="20577"/>
        <pc:sldMkLst>
          <pc:docMk/>
          <pc:sldMk cId="1762000330" sldId="2147376542"/>
        </pc:sldMkLst>
        <pc:spChg chg="mod">
          <ac:chgData name="Yagi, Riku" userId="092f3030-7069-45a1-8a72-8208e6901431" providerId="ADAL" clId="{3CB81B68-FC29-4C97-8A8B-1F5D6F25C566}" dt="2023-05-09T08:09:01.130" v="553" actId="20577"/>
          <ac:spMkLst>
            <pc:docMk/>
            <pc:sldMk cId="1762000330" sldId="2147376542"/>
            <ac:spMk id="8" creationId="{EF6218F6-959A-4559-B935-011209810466}"/>
          </ac:spMkLst>
        </pc:spChg>
        <pc:spChg chg="mod">
          <ac:chgData name="Yagi, Riku" userId="092f3030-7069-45a1-8a72-8208e6901431" providerId="ADAL" clId="{3CB81B68-FC29-4C97-8A8B-1F5D6F25C566}" dt="2023-05-09T08:03:33.796" v="190" actId="20577"/>
          <ac:spMkLst>
            <pc:docMk/>
            <pc:sldMk cId="1762000330" sldId="2147376542"/>
            <ac:spMk id="49" creationId="{61F34C26-F1E1-40EE-BCE4-40A2803EB6E4}"/>
          </ac:spMkLst>
        </pc:spChg>
      </pc:sldChg>
      <pc:sldChg chg="modSp mod">
        <pc:chgData name="Yagi, Riku" userId="092f3030-7069-45a1-8a72-8208e6901431" providerId="ADAL" clId="{3CB81B68-FC29-4C97-8A8B-1F5D6F25C566}" dt="2023-05-09T10:41:42.903" v="878" actId="20577"/>
        <pc:sldMkLst>
          <pc:docMk/>
          <pc:sldMk cId="1902198402" sldId="2147376564"/>
        </pc:sldMkLst>
        <pc:spChg chg="mod">
          <ac:chgData name="Yagi, Riku" userId="092f3030-7069-45a1-8a72-8208e6901431" providerId="ADAL" clId="{3CB81B68-FC29-4C97-8A8B-1F5D6F25C566}" dt="2023-05-09T10:41:42.903" v="878" actId="20577"/>
          <ac:spMkLst>
            <pc:docMk/>
            <pc:sldMk cId="1902198402" sldId="2147376564"/>
            <ac:spMk id="3" creationId="{68BE5464-CD44-45B3-B638-1E6B2208C6E5}"/>
          </ac:spMkLst>
        </pc:spChg>
      </pc:sldChg>
      <pc:sldChg chg="modSp mod">
        <pc:chgData name="Yagi, Riku" userId="092f3030-7069-45a1-8a72-8208e6901431" providerId="ADAL" clId="{3CB81B68-FC29-4C97-8A8B-1F5D6F25C566}" dt="2023-05-09T07:15:05.354" v="7" actId="20577"/>
        <pc:sldMkLst>
          <pc:docMk/>
          <pc:sldMk cId="4094569849" sldId="2147376567"/>
        </pc:sldMkLst>
        <pc:spChg chg="mod">
          <ac:chgData name="Yagi, Riku" userId="092f3030-7069-45a1-8a72-8208e6901431" providerId="ADAL" clId="{3CB81B68-FC29-4C97-8A8B-1F5D6F25C566}" dt="2023-05-09T07:15:05.354" v="7" actId="20577"/>
          <ac:spMkLst>
            <pc:docMk/>
            <pc:sldMk cId="4094569849" sldId="2147376567"/>
            <ac:spMk id="15" creationId="{C583AC29-FFDA-47D4-AB54-DDA276DB9339}"/>
          </ac:spMkLst>
        </pc:spChg>
      </pc:sldChg>
      <pc:sldChg chg="modSp mod">
        <pc:chgData name="Yagi, Riku" userId="092f3030-7069-45a1-8a72-8208e6901431" providerId="ADAL" clId="{3CB81B68-FC29-4C97-8A8B-1F5D6F25C566}" dt="2023-05-09T10:41:58.112" v="880"/>
        <pc:sldMkLst>
          <pc:docMk/>
          <pc:sldMk cId="525663554" sldId="2147376612"/>
        </pc:sldMkLst>
        <pc:spChg chg="mod">
          <ac:chgData name="Yagi, Riku" userId="092f3030-7069-45a1-8a72-8208e6901431" providerId="ADAL" clId="{3CB81B68-FC29-4C97-8A8B-1F5D6F25C566}" dt="2023-05-09T10:41:58.112" v="880"/>
          <ac:spMkLst>
            <pc:docMk/>
            <pc:sldMk cId="525663554" sldId="2147376612"/>
            <ac:spMk id="3" creationId="{68BE5464-CD44-45B3-B638-1E6B2208C6E5}"/>
          </ac:spMkLst>
        </pc:spChg>
      </pc:sldChg>
      <pc:sldChg chg="modSp mod">
        <pc:chgData name="Yagi, Riku" userId="092f3030-7069-45a1-8a72-8208e6901431" providerId="ADAL" clId="{3CB81B68-FC29-4C97-8A8B-1F5D6F25C566}" dt="2023-05-09T10:42:01.432" v="881"/>
        <pc:sldMkLst>
          <pc:docMk/>
          <pc:sldMk cId="2036497452" sldId="2147376613"/>
        </pc:sldMkLst>
        <pc:spChg chg="mod">
          <ac:chgData name="Yagi, Riku" userId="092f3030-7069-45a1-8a72-8208e6901431" providerId="ADAL" clId="{3CB81B68-FC29-4C97-8A8B-1F5D6F25C566}" dt="2023-05-09T10:42:01.432" v="881"/>
          <ac:spMkLst>
            <pc:docMk/>
            <pc:sldMk cId="2036497452" sldId="2147376613"/>
            <ac:spMk id="3" creationId="{68BE5464-CD44-45B3-B638-1E6B2208C6E5}"/>
          </ac:spMkLst>
        </pc:spChg>
      </pc:sldChg>
      <pc:sldChg chg="modSp mod">
        <pc:chgData name="Yagi, Riku" userId="092f3030-7069-45a1-8a72-8208e6901431" providerId="ADAL" clId="{3CB81B68-FC29-4C97-8A8B-1F5D6F25C566}" dt="2023-05-09T10:41:54.731" v="879"/>
        <pc:sldMkLst>
          <pc:docMk/>
          <pc:sldMk cId="4119966295" sldId="2147376614"/>
        </pc:sldMkLst>
        <pc:spChg chg="mod">
          <ac:chgData name="Yagi, Riku" userId="092f3030-7069-45a1-8a72-8208e6901431" providerId="ADAL" clId="{3CB81B68-FC29-4C97-8A8B-1F5D6F25C566}" dt="2023-05-09T10:41:54.731" v="879"/>
          <ac:spMkLst>
            <pc:docMk/>
            <pc:sldMk cId="4119966295" sldId="2147376614"/>
            <ac:spMk id="3" creationId="{68BE5464-CD44-45B3-B638-1E6B2208C6E5}"/>
          </ac:spMkLst>
        </pc:spChg>
      </pc:sldChg>
    </pc:docChg>
  </pc:docChgLst>
  <pc:docChgLst>
    <pc:chgData name="Yagi, Riku" userId="092f3030-7069-45a1-8a72-8208e6901431" providerId="ADAL" clId="{FBE3E605-4216-4539-B8F9-78B6DF9DD199}"/>
    <pc:docChg chg="modSld">
      <pc:chgData name="Yagi, Riku" userId="092f3030-7069-45a1-8a72-8208e6901431" providerId="ADAL" clId="{FBE3E605-4216-4539-B8F9-78B6DF9DD199}" dt="2023-06-07T03:25:18.476" v="2" actId="20577"/>
      <pc:docMkLst>
        <pc:docMk/>
      </pc:docMkLst>
      <pc:sldChg chg="modSp mod">
        <pc:chgData name="Yagi, Riku" userId="092f3030-7069-45a1-8a72-8208e6901431" providerId="ADAL" clId="{FBE3E605-4216-4539-B8F9-78B6DF9DD199}" dt="2023-06-07T03:25:18.476" v="2" actId="20577"/>
        <pc:sldMkLst>
          <pc:docMk/>
          <pc:sldMk cId="1662167398" sldId="2147376549"/>
        </pc:sldMkLst>
        <pc:spChg chg="mod">
          <ac:chgData name="Yagi, Riku" userId="092f3030-7069-45a1-8a72-8208e6901431" providerId="ADAL" clId="{FBE3E605-4216-4539-B8F9-78B6DF9DD199}" dt="2023-06-07T03:25:18.476" v="2" actId="20577"/>
          <ac:spMkLst>
            <pc:docMk/>
            <pc:sldMk cId="1662167398" sldId="2147376549"/>
            <ac:spMk id="74" creationId="{A107C216-38BF-4FFC-90D4-F96D5C58698B}"/>
          </ac:spMkLst>
        </pc:spChg>
      </pc:sldChg>
    </pc:docChg>
  </pc:docChgLst>
  <pc:docChgLst>
    <pc:chgData name="Nishi, Kentaro" userId="99f4c19a-673e-4fa1-a403-bcbf0c906067" providerId="ADAL" clId="{0E006325-0DB7-44DD-81AD-6A87D0477B12}"/>
    <pc:docChg chg="modSld">
      <pc:chgData name="Nishi, Kentaro" userId="99f4c19a-673e-4fa1-a403-bcbf0c906067" providerId="ADAL" clId="{0E006325-0DB7-44DD-81AD-6A87D0477B12}" dt="2023-05-31T08:25:55.061" v="266" actId="1037"/>
      <pc:docMkLst>
        <pc:docMk/>
      </pc:docMkLst>
      <pc:sldChg chg="addSp modSp mod">
        <pc:chgData name="Nishi, Kentaro" userId="99f4c19a-673e-4fa1-a403-bcbf0c906067" providerId="ADAL" clId="{0E006325-0DB7-44DD-81AD-6A87D0477B12}" dt="2023-05-31T08:25:55.061" v="266" actId="1037"/>
        <pc:sldMkLst>
          <pc:docMk/>
          <pc:sldMk cId="2453785476" sldId="2147376558"/>
        </pc:sldMkLst>
        <pc:spChg chg="add mod">
          <ac:chgData name="Nishi, Kentaro" userId="99f4c19a-673e-4fa1-a403-bcbf0c906067" providerId="ADAL" clId="{0E006325-0DB7-44DD-81AD-6A87D0477B12}" dt="2023-05-31T08:25:55.061" v="266" actId="1037"/>
          <ac:spMkLst>
            <pc:docMk/>
            <pc:sldMk cId="2453785476" sldId="2147376558"/>
            <ac:spMk id="9" creationId="{6190401D-8CDA-4E42-B748-7580EECDD482}"/>
          </ac:spMkLst>
        </pc:spChg>
      </pc:sldChg>
    </pc:docChg>
  </pc:docChgLst>
  <pc:docChgLst>
    <pc:chgData name="Yagi, Riku" userId="092f3030-7069-45a1-8a72-8208e6901431" providerId="ADAL" clId="{717FFAFA-C531-4200-8693-A57EFD43964C}"/>
    <pc:docChg chg="undo custSel modSld">
      <pc:chgData name="Yagi, Riku" userId="092f3030-7069-45a1-8a72-8208e6901431" providerId="ADAL" clId="{717FFAFA-C531-4200-8693-A57EFD43964C}" dt="2023-04-28T02:58:01.911" v="20"/>
      <pc:docMkLst>
        <pc:docMk/>
      </pc:docMkLst>
      <pc:sldChg chg="modSp mod">
        <pc:chgData name="Yagi, Riku" userId="092f3030-7069-45a1-8a72-8208e6901431" providerId="ADAL" clId="{717FFAFA-C531-4200-8693-A57EFD43964C}" dt="2023-04-28T02:57:47.897" v="15"/>
        <pc:sldMkLst>
          <pc:docMk/>
          <pc:sldMk cId="3112048226" sldId="2147376544"/>
        </pc:sldMkLst>
        <pc:spChg chg="mod">
          <ac:chgData name="Yagi, Riku" userId="092f3030-7069-45a1-8a72-8208e6901431" providerId="ADAL" clId="{717FFAFA-C531-4200-8693-A57EFD43964C}" dt="2023-04-28T02:57:47.897" v="15"/>
          <ac:spMkLst>
            <pc:docMk/>
            <pc:sldMk cId="3112048226" sldId="2147376544"/>
            <ac:spMk id="26" creationId="{A3220A8B-96B0-434F-8BC8-4D321C80687D}"/>
          </ac:spMkLst>
        </pc:spChg>
      </pc:sldChg>
      <pc:sldChg chg="modSp mod">
        <pc:chgData name="Yagi, Riku" userId="092f3030-7069-45a1-8a72-8208e6901431" providerId="ADAL" clId="{717FFAFA-C531-4200-8693-A57EFD43964C}" dt="2023-04-28T02:57:45.667" v="14" actId="20577"/>
        <pc:sldMkLst>
          <pc:docMk/>
          <pc:sldMk cId="180363097" sldId="2147376596"/>
        </pc:sldMkLst>
        <pc:spChg chg="mod">
          <ac:chgData name="Yagi, Riku" userId="092f3030-7069-45a1-8a72-8208e6901431" providerId="ADAL" clId="{717FFAFA-C531-4200-8693-A57EFD43964C}" dt="2023-04-28T02:57:45.667" v="14" actId="20577"/>
          <ac:spMkLst>
            <pc:docMk/>
            <pc:sldMk cId="180363097" sldId="2147376596"/>
            <ac:spMk id="26" creationId="{A3220A8B-96B0-434F-8BC8-4D321C80687D}"/>
          </ac:spMkLst>
        </pc:spChg>
      </pc:sldChg>
      <pc:sldChg chg="modSp mod">
        <pc:chgData name="Yagi, Riku" userId="092f3030-7069-45a1-8a72-8208e6901431" providerId="ADAL" clId="{717FFAFA-C531-4200-8693-A57EFD43964C}" dt="2023-04-28T02:57:50.633" v="16"/>
        <pc:sldMkLst>
          <pc:docMk/>
          <pc:sldMk cId="2657891735" sldId="2147376607"/>
        </pc:sldMkLst>
        <pc:spChg chg="mod">
          <ac:chgData name="Yagi, Riku" userId="092f3030-7069-45a1-8a72-8208e6901431" providerId="ADAL" clId="{717FFAFA-C531-4200-8693-A57EFD43964C}" dt="2023-04-28T02:57:50.633" v="16"/>
          <ac:spMkLst>
            <pc:docMk/>
            <pc:sldMk cId="2657891735" sldId="2147376607"/>
            <ac:spMk id="26" creationId="{A3220A8B-96B0-434F-8BC8-4D321C80687D}"/>
          </ac:spMkLst>
        </pc:spChg>
      </pc:sldChg>
      <pc:sldChg chg="modSp mod">
        <pc:chgData name="Yagi, Riku" userId="092f3030-7069-45a1-8a72-8208e6901431" providerId="ADAL" clId="{717FFAFA-C531-4200-8693-A57EFD43964C}" dt="2023-04-28T02:57:54.064" v="17"/>
        <pc:sldMkLst>
          <pc:docMk/>
          <pc:sldMk cId="2355929026" sldId="2147376608"/>
        </pc:sldMkLst>
        <pc:spChg chg="mod">
          <ac:chgData name="Yagi, Riku" userId="092f3030-7069-45a1-8a72-8208e6901431" providerId="ADAL" clId="{717FFAFA-C531-4200-8693-A57EFD43964C}" dt="2023-04-28T02:57:54.064" v="17"/>
          <ac:spMkLst>
            <pc:docMk/>
            <pc:sldMk cId="2355929026" sldId="2147376608"/>
            <ac:spMk id="26" creationId="{A3220A8B-96B0-434F-8BC8-4D321C80687D}"/>
          </ac:spMkLst>
        </pc:spChg>
      </pc:sldChg>
      <pc:sldChg chg="modSp mod">
        <pc:chgData name="Yagi, Riku" userId="092f3030-7069-45a1-8a72-8208e6901431" providerId="ADAL" clId="{717FFAFA-C531-4200-8693-A57EFD43964C}" dt="2023-04-28T02:57:56.960" v="18"/>
        <pc:sldMkLst>
          <pc:docMk/>
          <pc:sldMk cId="827989469" sldId="2147376609"/>
        </pc:sldMkLst>
        <pc:spChg chg="mod">
          <ac:chgData name="Yagi, Riku" userId="092f3030-7069-45a1-8a72-8208e6901431" providerId="ADAL" clId="{717FFAFA-C531-4200-8693-A57EFD43964C}" dt="2023-04-28T02:57:56.960" v="18"/>
          <ac:spMkLst>
            <pc:docMk/>
            <pc:sldMk cId="827989469" sldId="2147376609"/>
            <ac:spMk id="26" creationId="{A3220A8B-96B0-434F-8BC8-4D321C80687D}"/>
          </ac:spMkLst>
        </pc:spChg>
      </pc:sldChg>
      <pc:sldChg chg="modSp mod">
        <pc:chgData name="Yagi, Riku" userId="092f3030-7069-45a1-8a72-8208e6901431" providerId="ADAL" clId="{717FFAFA-C531-4200-8693-A57EFD43964C}" dt="2023-04-28T02:57:59.075" v="19"/>
        <pc:sldMkLst>
          <pc:docMk/>
          <pc:sldMk cId="3627105424" sldId="2147376610"/>
        </pc:sldMkLst>
        <pc:spChg chg="mod">
          <ac:chgData name="Yagi, Riku" userId="092f3030-7069-45a1-8a72-8208e6901431" providerId="ADAL" clId="{717FFAFA-C531-4200-8693-A57EFD43964C}" dt="2023-04-28T02:57:59.075" v="19"/>
          <ac:spMkLst>
            <pc:docMk/>
            <pc:sldMk cId="3627105424" sldId="2147376610"/>
            <ac:spMk id="26" creationId="{A3220A8B-96B0-434F-8BC8-4D321C80687D}"/>
          </ac:spMkLst>
        </pc:spChg>
      </pc:sldChg>
      <pc:sldChg chg="modSp mod">
        <pc:chgData name="Yagi, Riku" userId="092f3030-7069-45a1-8a72-8208e6901431" providerId="ADAL" clId="{717FFAFA-C531-4200-8693-A57EFD43964C}" dt="2023-04-28T02:58:01.911" v="20"/>
        <pc:sldMkLst>
          <pc:docMk/>
          <pc:sldMk cId="2436708289" sldId="2147376611"/>
        </pc:sldMkLst>
        <pc:spChg chg="mod">
          <ac:chgData name="Yagi, Riku" userId="092f3030-7069-45a1-8a72-8208e6901431" providerId="ADAL" clId="{717FFAFA-C531-4200-8693-A57EFD43964C}" dt="2023-04-28T02:58:01.911" v="20"/>
          <ac:spMkLst>
            <pc:docMk/>
            <pc:sldMk cId="2436708289" sldId="2147376611"/>
            <ac:spMk id="26" creationId="{A3220A8B-96B0-434F-8BC8-4D321C80687D}"/>
          </ac:spMkLst>
        </pc:spChg>
      </pc:sldChg>
    </pc:docChg>
  </pc:docChgLst>
  <pc:docChgLst>
    <pc:chgData name="Yagi, Riku" userId="092f3030-7069-45a1-8a72-8208e6901431" providerId="ADAL" clId="{6DFB9158-BBC2-41D3-AB0D-5A024FDBE997}"/>
    <pc:docChg chg="undo custSel addSld delSld modSld sldOrd modSection">
      <pc:chgData name="Yagi, Riku" userId="092f3030-7069-45a1-8a72-8208e6901431" providerId="ADAL" clId="{6DFB9158-BBC2-41D3-AB0D-5A024FDBE997}" dt="2023-04-25T04:58:48.743" v="40"/>
      <pc:docMkLst>
        <pc:docMk/>
      </pc:docMkLst>
      <pc:sldChg chg="modSp mod">
        <pc:chgData name="Yagi, Riku" userId="092f3030-7069-45a1-8a72-8208e6901431" providerId="ADAL" clId="{6DFB9158-BBC2-41D3-AB0D-5A024FDBE997}" dt="2023-04-25T04:58:24.998" v="37" actId="20577"/>
        <pc:sldMkLst>
          <pc:docMk/>
          <pc:sldMk cId="1762000330" sldId="2147376542"/>
        </pc:sldMkLst>
        <pc:spChg chg="mod">
          <ac:chgData name="Yagi, Riku" userId="092f3030-7069-45a1-8a72-8208e6901431" providerId="ADAL" clId="{6DFB9158-BBC2-41D3-AB0D-5A024FDBE997}" dt="2023-04-25T04:58:24.998" v="37" actId="20577"/>
          <ac:spMkLst>
            <pc:docMk/>
            <pc:sldMk cId="1762000330" sldId="2147376542"/>
            <ac:spMk id="8" creationId="{EF6218F6-959A-4559-B935-011209810466}"/>
          </ac:spMkLst>
        </pc:spChg>
      </pc:sldChg>
      <pc:sldChg chg="modSp mod">
        <pc:chgData name="Yagi, Riku" userId="092f3030-7069-45a1-8a72-8208e6901431" providerId="ADAL" clId="{6DFB9158-BBC2-41D3-AB0D-5A024FDBE997}" dt="2023-04-25T04:58:48.743" v="40"/>
        <pc:sldMkLst>
          <pc:docMk/>
          <pc:sldMk cId="3117319284" sldId="2147376551"/>
        </pc:sldMkLst>
        <pc:spChg chg="mod">
          <ac:chgData name="Yagi, Riku" userId="092f3030-7069-45a1-8a72-8208e6901431" providerId="ADAL" clId="{6DFB9158-BBC2-41D3-AB0D-5A024FDBE997}" dt="2023-04-25T04:58:48.743" v="40"/>
          <ac:spMkLst>
            <pc:docMk/>
            <pc:sldMk cId="3117319284" sldId="2147376551"/>
            <ac:spMk id="4" creationId="{6D770DF6-F588-40B0-808A-BF9058AD3D5C}"/>
          </ac:spMkLst>
        </pc:spChg>
      </pc:sldChg>
      <pc:sldChg chg="delSp mod">
        <pc:chgData name="Yagi, Riku" userId="092f3030-7069-45a1-8a72-8208e6901431" providerId="ADAL" clId="{6DFB9158-BBC2-41D3-AB0D-5A024FDBE997}" dt="2023-04-25T04:50:31.700" v="1" actId="478"/>
        <pc:sldMkLst>
          <pc:docMk/>
          <pc:sldMk cId="2453785476" sldId="2147376558"/>
        </pc:sldMkLst>
        <pc:spChg chg="del">
          <ac:chgData name="Yagi, Riku" userId="092f3030-7069-45a1-8a72-8208e6901431" providerId="ADAL" clId="{6DFB9158-BBC2-41D3-AB0D-5A024FDBE997}" dt="2023-04-25T04:50:31.700" v="1" actId="478"/>
          <ac:spMkLst>
            <pc:docMk/>
            <pc:sldMk cId="2453785476" sldId="2147376558"/>
            <ac:spMk id="2" creationId="{DB3758D0-E329-4A37-BF02-BD6EBE78D24A}"/>
          </ac:spMkLst>
        </pc:spChg>
        <pc:spChg chg="del">
          <ac:chgData name="Yagi, Riku" userId="092f3030-7069-45a1-8a72-8208e6901431" providerId="ADAL" clId="{6DFB9158-BBC2-41D3-AB0D-5A024FDBE997}" dt="2023-04-25T04:50:27.956" v="0" actId="478"/>
          <ac:spMkLst>
            <pc:docMk/>
            <pc:sldMk cId="2453785476" sldId="2147376558"/>
            <ac:spMk id="10" creationId="{B9681B7E-09D8-4247-89CC-43F42759FDC4}"/>
          </ac:spMkLst>
        </pc:spChg>
      </pc:sldChg>
      <pc:sldChg chg="del">
        <pc:chgData name="Yagi, Riku" userId="092f3030-7069-45a1-8a72-8208e6901431" providerId="ADAL" clId="{6DFB9158-BBC2-41D3-AB0D-5A024FDBE997}" dt="2023-04-25T04:51:16.060" v="15" actId="47"/>
        <pc:sldMkLst>
          <pc:docMk/>
          <pc:sldMk cId="3302874145" sldId="2147376566"/>
        </pc:sldMkLst>
      </pc:sldChg>
      <pc:sldChg chg="modSp mod">
        <pc:chgData name="Yagi, Riku" userId="092f3030-7069-45a1-8a72-8208e6901431" providerId="ADAL" clId="{6DFB9158-BBC2-41D3-AB0D-5A024FDBE997}" dt="2023-04-25T04:51:58.753" v="35" actId="20577"/>
        <pc:sldMkLst>
          <pc:docMk/>
          <pc:sldMk cId="4094569849" sldId="2147376567"/>
        </pc:sldMkLst>
        <pc:spChg chg="mod">
          <ac:chgData name="Yagi, Riku" userId="092f3030-7069-45a1-8a72-8208e6901431" providerId="ADAL" clId="{6DFB9158-BBC2-41D3-AB0D-5A024FDBE997}" dt="2023-04-25T04:51:58.753" v="35" actId="20577"/>
          <ac:spMkLst>
            <pc:docMk/>
            <pc:sldMk cId="4094569849" sldId="2147376567"/>
            <ac:spMk id="15" creationId="{C583AC29-FFDA-47D4-AB54-DDA276DB9339}"/>
          </ac:spMkLst>
        </pc:spChg>
      </pc:sldChg>
      <pc:sldChg chg="modSp mod">
        <pc:chgData name="Yagi, Riku" userId="092f3030-7069-45a1-8a72-8208e6901431" providerId="ADAL" clId="{6DFB9158-BBC2-41D3-AB0D-5A024FDBE997}" dt="2023-04-25T04:51:40.246" v="34" actId="20577"/>
        <pc:sldMkLst>
          <pc:docMk/>
          <pc:sldMk cId="1100668209" sldId="2147376568"/>
        </pc:sldMkLst>
        <pc:spChg chg="mod">
          <ac:chgData name="Yagi, Riku" userId="092f3030-7069-45a1-8a72-8208e6901431" providerId="ADAL" clId="{6DFB9158-BBC2-41D3-AB0D-5A024FDBE997}" dt="2023-04-25T04:51:40.246" v="34" actId="20577"/>
          <ac:spMkLst>
            <pc:docMk/>
            <pc:sldMk cId="1100668209" sldId="2147376568"/>
            <ac:spMk id="46" creationId="{C702057B-1130-4539-B5B6-B1B61033F9C8}"/>
          </ac:spMkLst>
        </pc:spChg>
      </pc:sldChg>
      <pc:sldChg chg="modSp mod">
        <pc:chgData name="Yagi, Riku" userId="092f3030-7069-45a1-8a72-8208e6901431" providerId="ADAL" clId="{6DFB9158-BBC2-41D3-AB0D-5A024FDBE997}" dt="2023-04-25T04:52:04.851" v="36" actId="20577"/>
        <pc:sldMkLst>
          <pc:docMk/>
          <pc:sldMk cId="2696110925" sldId="2147376595"/>
        </pc:sldMkLst>
        <pc:spChg chg="mod">
          <ac:chgData name="Yagi, Riku" userId="092f3030-7069-45a1-8a72-8208e6901431" providerId="ADAL" clId="{6DFB9158-BBC2-41D3-AB0D-5A024FDBE997}" dt="2023-04-25T04:52:04.851" v="36" actId="20577"/>
          <ac:spMkLst>
            <pc:docMk/>
            <pc:sldMk cId="2696110925" sldId="2147376595"/>
            <ac:spMk id="15" creationId="{C583AC29-FFDA-47D4-AB54-DDA276DB9339}"/>
          </ac:spMkLst>
        </pc:spChg>
      </pc:sldChg>
      <pc:sldChg chg="addSp delSp modSp add del mod ord">
        <pc:chgData name="Yagi, Riku" userId="092f3030-7069-45a1-8a72-8208e6901431" providerId="ADAL" clId="{6DFB9158-BBC2-41D3-AB0D-5A024FDBE997}" dt="2023-04-25T04:51:34.178" v="28" actId="47"/>
        <pc:sldMkLst>
          <pc:docMk/>
          <pc:sldMk cId="3565159664" sldId="2147376596"/>
        </pc:sldMkLst>
        <pc:spChg chg="add del mod">
          <ac:chgData name="Yagi, Riku" userId="092f3030-7069-45a1-8a72-8208e6901431" providerId="ADAL" clId="{6DFB9158-BBC2-41D3-AB0D-5A024FDBE997}" dt="2023-04-25T04:51:22.613" v="19" actId="478"/>
          <ac:spMkLst>
            <pc:docMk/>
            <pc:sldMk cId="3565159664" sldId="2147376596"/>
            <ac:spMk id="4" creationId="{3E3A92B5-5E5B-4256-98DC-EE438F2C6B12}"/>
          </ac:spMkLst>
        </pc:spChg>
        <pc:graphicFrameChg chg="add del modGraphic">
          <ac:chgData name="Yagi, Riku" userId="092f3030-7069-45a1-8a72-8208e6901431" providerId="ADAL" clId="{6DFB9158-BBC2-41D3-AB0D-5A024FDBE997}" dt="2023-04-25T04:51:31.354" v="27" actId="20577"/>
          <ac:graphicFrameMkLst>
            <pc:docMk/>
            <pc:sldMk cId="3565159664" sldId="2147376596"/>
            <ac:graphicFrameMk id="15" creationId="{00000000-0000-0000-0000-000000000000}"/>
          </ac:graphicFrameMkLst>
        </pc:graphicFrameChg>
      </pc:sldChg>
    </pc:docChg>
  </pc:docChgLst>
  <pc:docChgLst>
    <pc:chgData name="Nishi, Kentaro" userId="99f4c19a-673e-4fa1-a403-bcbf0c906067" providerId="ADAL" clId="{E0005CC5-CBA3-4F87-8931-9D107790B2E3}"/>
    <pc:docChg chg="undo redo custSel addSld delSld modSld modSection">
      <pc:chgData name="Nishi, Kentaro" userId="99f4c19a-673e-4fa1-a403-bcbf0c906067" providerId="ADAL" clId="{E0005CC5-CBA3-4F87-8931-9D107790B2E3}" dt="2023-05-30T09:39:25.423" v="1330"/>
      <pc:docMkLst>
        <pc:docMk/>
      </pc:docMkLst>
      <pc:sldChg chg="addSp delSp modSp mod">
        <pc:chgData name="Nishi, Kentaro" userId="99f4c19a-673e-4fa1-a403-bcbf0c906067" providerId="ADAL" clId="{E0005CC5-CBA3-4F87-8931-9D107790B2E3}" dt="2023-05-30T09:39:21.124" v="1328"/>
        <pc:sldMkLst>
          <pc:docMk/>
          <pc:sldMk cId="3112048226" sldId="2147376544"/>
        </pc:sldMkLst>
        <pc:spChg chg="del">
          <ac:chgData name="Nishi, Kentaro" userId="99f4c19a-673e-4fa1-a403-bcbf0c906067" providerId="ADAL" clId="{E0005CC5-CBA3-4F87-8931-9D107790B2E3}" dt="2023-05-30T09:39:20.958" v="1327" actId="478"/>
          <ac:spMkLst>
            <pc:docMk/>
            <pc:sldMk cId="3112048226" sldId="2147376544"/>
            <ac:spMk id="11" creationId="{B20BE543-92C6-43BA-8DD2-D9CF85D5571C}"/>
          </ac:spMkLst>
        </pc:spChg>
        <pc:spChg chg="add del mod">
          <ac:chgData name="Nishi, Kentaro" userId="99f4c19a-673e-4fa1-a403-bcbf0c906067" providerId="ADAL" clId="{E0005CC5-CBA3-4F87-8931-9D107790B2E3}" dt="2023-05-30T07:43:57.875" v="127"/>
          <ac:spMkLst>
            <pc:docMk/>
            <pc:sldMk cId="3112048226" sldId="2147376544"/>
            <ac:spMk id="12" creationId="{37DBF279-E586-4A38-8301-ABB123F187A7}"/>
          </ac:spMkLst>
        </pc:spChg>
        <pc:spChg chg="add del mod">
          <ac:chgData name="Nishi, Kentaro" userId="99f4c19a-673e-4fa1-a403-bcbf0c906067" providerId="ADAL" clId="{E0005CC5-CBA3-4F87-8931-9D107790B2E3}" dt="2023-05-30T07:43:57.875" v="127"/>
          <ac:spMkLst>
            <pc:docMk/>
            <pc:sldMk cId="3112048226" sldId="2147376544"/>
            <ac:spMk id="14" creationId="{3ACEF38F-D34D-4CCF-AE0A-50487FAA5A9D}"/>
          </ac:spMkLst>
        </pc:spChg>
        <pc:spChg chg="add del mod">
          <ac:chgData name="Nishi, Kentaro" userId="99f4c19a-673e-4fa1-a403-bcbf0c906067" providerId="ADAL" clId="{E0005CC5-CBA3-4F87-8931-9D107790B2E3}" dt="2023-05-30T07:43:57.875" v="127"/>
          <ac:spMkLst>
            <pc:docMk/>
            <pc:sldMk cId="3112048226" sldId="2147376544"/>
            <ac:spMk id="15" creationId="{645A1AC6-B847-460B-A6EA-CF7CAD307A72}"/>
          </ac:spMkLst>
        </pc:spChg>
        <pc:spChg chg="add del mod">
          <ac:chgData name="Nishi, Kentaro" userId="99f4c19a-673e-4fa1-a403-bcbf0c906067" providerId="ADAL" clId="{E0005CC5-CBA3-4F87-8931-9D107790B2E3}" dt="2023-05-30T07:43:57.875" v="127"/>
          <ac:spMkLst>
            <pc:docMk/>
            <pc:sldMk cId="3112048226" sldId="2147376544"/>
            <ac:spMk id="16" creationId="{8DFF92A3-2EBD-4782-9478-08B3DA76F10B}"/>
          </ac:spMkLst>
        </pc:spChg>
        <pc:spChg chg="add del mod">
          <ac:chgData name="Nishi, Kentaro" userId="99f4c19a-673e-4fa1-a403-bcbf0c906067" providerId="ADAL" clId="{E0005CC5-CBA3-4F87-8931-9D107790B2E3}" dt="2023-05-30T07:43:57.875" v="127"/>
          <ac:spMkLst>
            <pc:docMk/>
            <pc:sldMk cId="3112048226" sldId="2147376544"/>
            <ac:spMk id="17" creationId="{F3249BA4-8C4B-454E-8281-406D253127B3}"/>
          </ac:spMkLst>
        </pc:spChg>
        <pc:spChg chg="mod">
          <ac:chgData name="Nishi, Kentaro" userId="99f4c19a-673e-4fa1-a403-bcbf0c906067" providerId="ADAL" clId="{E0005CC5-CBA3-4F87-8931-9D107790B2E3}" dt="2023-05-30T08:19:06.822" v="813" actId="1035"/>
          <ac:spMkLst>
            <pc:docMk/>
            <pc:sldMk cId="3112048226" sldId="2147376544"/>
            <ac:spMk id="18" creationId="{6D1729BB-0EB1-4078-B6C7-36865C66E1B4}"/>
          </ac:spMkLst>
        </pc:spChg>
        <pc:spChg chg="add del mod">
          <ac:chgData name="Nishi, Kentaro" userId="99f4c19a-673e-4fa1-a403-bcbf0c906067" providerId="ADAL" clId="{E0005CC5-CBA3-4F87-8931-9D107790B2E3}" dt="2023-05-30T07:43:57.875" v="127"/>
          <ac:spMkLst>
            <pc:docMk/>
            <pc:sldMk cId="3112048226" sldId="2147376544"/>
            <ac:spMk id="20" creationId="{3821C991-F3E0-4FE1-81DE-1C0D4677D361}"/>
          </ac:spMkLst>
        </pc:spChg>
        <pc:spChg chg="mod">
          <ac:chgData name="Nishi, Kentaro" userId="99f4c19a-673e-4fa1-a403-bcbf0c906067" providerId="ADAL" clId="{E0005CC5-CBA3-4F87-8931-9D107790B2E3}" dt="2023-05-30T08:19:51.707" v="855" actId="554"/>
          <ac:spMkLst>
            <pc:docMk/>
            <pc:sldMk cId="3112048226" sldId="2147376544"/>
            <ac:spMk id="22" creationId="{7E424736-C581-4FE2-B644-E8F4902F00CF}"/>
          </ac:spMkLst>
        </pc:spChg>
        <pc:spChg chg="mod">
          <ac:chgData name="Nishi, Kentaro" userId="99f4c19a-673e-4fa1-a403-bcbf0c906067" providerId="ADAL" clId="{E0005CC5-CBA3-4F87-8931-9D107790B2E3}" dt="2023-05-30T08:19:51.707" v="855" actId="554"/>
          <ac:spMkLst>
            <pc:docMk/>
            <pc:sldMk cId="3112048226" sldId="2147376544"/>
            <ac:spMk id="23" creationId="{A1D5FDF9-9DA0-4F3A-A553-1CC77C647182}"/>
          </ac:spMkLst>
        </pc:spChg>
        <pc:spChg chg="add del mod">
          <ac:chgData name="Nishi, Kentaro" userId="99f4c19a-673e-4fa1-a403-bcbf0c906067" providerId="ADAL" clId="{E0005CC5-CBA3-4F87-8931-9D107790B2E3}" dt="2023-05-30T07:43:57.875" v="127"/>
          <ac:spMkLst>
            <pc:docMk/>
            <pc:sldMk cId="3112048226" sldId="2147376544"/>
            <ac:spMk id="27" creationId="{16B23085-DAA3-493F-8591-21E7F5F9386D}"/>
          </ac:spMkLst>
        </pc:spChg>
        <pc:spChg chg="add mod">
          <ac:chgData name="Nishi, Kentaro" userId="99f4c19a-673e-4fa1-a403-bcbf0c906067" providerId="ADAL" clId="{E0005CC5-CBA3-4F87-8931-9D107790B2E3}" dt="2023-05-30T08:18:33.340" v="770" actId="571"/>
          <ac:spMkLst>
            <pc:docMk/>
            <pc:sldMk cId="3112048226" sldId="2147376544"/>
            <ac:spMk id="29" creationId="{F5478D23-61C0-4162-90BC-9589C81F63C3}"/>
          </ac:spMkLst>
        </pc:spChg>
        <pc:spChg chg="add mod">
          <ac:chgData name="Nishi, Kentaro" userId="99f4c19a-673e-4fa1-a403-bcbf0c906067" providerId="ADAL" clId="{E0005CC5-CBA3-4F87-8931-9D107790B2E3}" dt="2023-05-30T08:18:33.340" v="770" actId="571"/>
          <ac:spMkLst>
            <pc:docMk/>
            <pc:sldMk cId="3112048226" sldId="2147376544"/>
            <ac:spMk id="30" creationId="{DA398202-D97D-4D3B-82B8-88A61CE541A5}"/>
          </ac:spMkLst>
        </pc:spChg>
        <pc:spChg chg="add mod">
          <ac:chgData name="Nishi, Kentaro" userId="99f4c19a-673e-4fa1-a403-bcbf0c906067" providerId="ADAL" clId="{E0005CC5-CBA3-4F87-8931-9D107790B2E3}" dt="2023-05-30T08:18:37.243" v="772" actId="571"/>
          <ac:spMkLst>
            <pc:docMk/>
            <pc:sldMk cId="3112048226" sldId="2147376544"/>
            <ac:spMk id="31" creationId="{C9AC9F9C-BF0B-43A7-A4D4-00D91FC0B073}"/>
          </ac:spMkLst>
        </pc:spChg>
        <pc:spChg chg="add mod">
          <ac:chgData name="Nishi, Kentaro" userId="99f4c19a-673e-4fa1-a403-bcbf0c906067" providerId="ADAL" clId="{E0005CC5-CBA3-4F87-8931-9D107790B2E3}" dt="2023-05-30T08:18:37.243" v="772" actId="571"/>
          <ac:spMkLst>
            <pc:docMk/>
            <pc:sldMk cId="3112048226" sldId="2147376544"/>
            <ac:spMk id="32" creationId="{4ECB6466-49E4-4FCC-8B48-55ED5FB52481}"/>
          </ac:spMkLst>
        </pc:spChg>
        <pc:spChg chg="add mod">
          <ac:chgData name="Nishi, Kentaro" userId="99f4c19a-673e-4fa1-a403-bcbf0c906067" providerId="ADAL" clId="{E0005CC5-CBA3-4F87-8931-9D107790B2E3}" dt="2023-05-30T08:19:32.592" v="852" actId="1035"/>
          <ac:spMkLst>
            <pc:docMk/>
            <pc:sldMk cId="3112048226" sldId="2147376544"/>
            <ac:spMk id="33" creationId="{76927A0D-5E79-4B04-9EE8-78695961B199}"/>
          </ac:spMkLst>
        </pc:spChg>
        <pc:spChg chg="add mod">
          <ac:chgData name="Nishi, Kentaro" userId="99f4c19a-673e-4fa1-a403-bcbf0c906067" providerId="ADAL" clId="{E0005CC5-CBA3-4F87-8931-9D107790B2E3}" dt="2023-05-30T08:18:43.620" v="775" actId="571"/>
          <ac:spMkLst>
            <pc:docMk/>
            <pc:sldMk cId="3112048226" sldId="2147376544"/>
            <ac:spMk id="34" creationId="{23587F74-EA09-40F0-B301-619084E33662}"/>
          </ac:spMkLst>
        </pc:spChg>
        <pc:spChg chg="add mod">
          <ac:chgData name="Nishi, Kentaro" userId="99f4c19a-673e-4fa1-a403-bcbf0c906067" providerId="ADAL" clId="{E0005CC5-CBA3-4F87-8931-9D107790B2E3}" dt="2023-05-30T08:18:43.620" v="775" actId="571"/>
          <ac:spMkLst>
            <pc:docMk/>
            <pc:sldMk cId="3112048226" sldId="2147376544"/>
            <ac:spMk id="35" creationId="{18AB38A9-220A-48CB-8DA9-E00881B9C92A}"/>
          </ac:spMkLst>
        </pc:spChg>
        <pc:spChg chg="add mod">
          <ac:chgData name="Nishi, Kentaro" userId="99f4c19a-673e-4fa1-a403-bcbf0c906067" providerId="ADAL" clId="{E0005CC5-CBA3-4F87-8931-9D107790B2E3}" dt="2023-05-30T08:20:00.651" v="858" actId="554"/>
          <ac:spMkLst>
            <pc:docMk/>
            <pc:sldMk cId="3112048226" sldId="2147376544"/>
            <ac:spMk id="36" creationId="{ABEB530B-5F88-4117-BE64-B2BCDC9AC0C1}"/>
          </ac:spMkLst>
        </pc:spChg>
        <pc:spChg chg="add mod">
          <ac:chgData name="Nishi, Kentaro" userId="99f4c19a-673e-4fa1-a403-bcbf0c906067" providerId="ADAL" clId="{E0005CC5-CBA3-4F87-8931-9D107790B2E3}" dt="2023-05-30T08:20:53.326" v="881" actId="20577"/>
          <ac:spMkLst>
            <pc:docMk/>
            <pc:sldMk cId="3112048226" sldId="2147376544"/>
            <ac:spMk id="37" creationId="{10A6567C-8356-4428-9E96-54840877C2E1}"/>
          </ac:spMkLst>
        </pc:spChg>
        <pc:spChg chg="add mod">
          <ac:chgData name="Nishi, Kentaro" userId="99f4c19a-673e-4fa1-a403-bcbf0c906067" providerId="ADAL" clId="{E0005CC5-CBA3-4F87-8931-9D107790B2E3}" dt="2023-05-30T08:21:06.860" v="894" actId="20577"/>
          <ac:spMkLst>
            <pc:docMk/>
            <pc:sldMk cId="3112048226" sldId="2147376544"/>
            <ac:spMk id="38" creationId="{66E52931-5C50-4CA4-B676-AF6525A33930}"/>
          </ac:spMkLst>
        </pc:spChg>
        <pc:spChg chg="add mod">
          <ac:chgData name="Nishi, Kentaro" userId="99f4c19a-673e-4fa1-a403-bcbf0c906067" providerId="ADAL" clId="{E0005CC5-CBA3-4F87-8931-9D107790B2E3}" dt="2023-05-30T09:39:21.124" v="1328"/>
          <ac:spMkLst>
            <pc:docMk/>
            <pc:sldMk cId="3112048226" sldId="2147376544"/>
            <ac:spMk id="39" creationId="{72B0BEFC-AF86-4298-A1BD-9484EAE9856F}"/>
          </ac:spMkLst>
        </pc:spChg>
        <pc:graphicFrameChg chg="add del mod">
          <ac:chgData name="Nishi, Kentaro" userId="99f4c19a-673e-4fa1-a403-bcbf0c906067" providerId="ADAL" clId="{E0005CC5-CBA3-4F87-8931-9D107790B2E3}" dt="2023-05-30T07:43:57.875" v="127"/>
          <ac:graphicFrameMkLst>
            <pc:docMk/>
            <pc:sldMk cId="3112048226" sldId="2147376544"/>
            <ac:graphicFrameMk id="13" creationId="{D39FA63E-CD37-492E-AA7E-762130E2649D}"/>
          </ac:graphicFrameMkLst>
        </pc:graphicFrameChg>
        <pc:graphicFrameChg chg="add del mod">
          <ac:chgData name="Nishi, Kentaro" userId="99f4c19a-673e-4fa1-a403-bcbf0c906067" providerId="ADAL" clId="{E0005CC5-CBA3-4F87-8931-9D107790B2E3}" dt="2023-05-30T07:43:57.875" v="127"/>
          <ac:graphicFrameMkLst>
            <pc:docMk/>
            <pc:sldMk cId="3112048226" sldId="2147376544"/>
            <ac:graphicFrameMk id="21" creationId="{C35B382A-F287-49C0-97CD-44A40B9BB8C3}"/>
          </ac:graphicFrameMkLst>
        </pc:graphicFrameChg>
        <pc:graphicFrameChg chg="add del mod">
          <ac:chgData name="Nishi, Kentaro" userId="99f4c19a-673e-4fa1-a403-bcbf0c906067" providerId="ADAL" clId="{E0005CC5-CBA3-4F87-8931-9D107790B2E3}" dt="2023-05-30T07:43:57.875" v="127"/>
          <ac:graphicFrameMkLst>
            <pc:docMk/>
            <pc:sldMk cId="3112048226" sldId="2147376544"/>
            <ac:graphicFrameMk id="24" creationId="{D9B728B3-B897-4434-A641-595DD320C110}"/>
          </ac:graphicFrameMkLst>
        </pc:graphicFrameChg>
        <pc:graphicFrameChg chg="add del mod">
          <ac:chgData name="Nishi, Kentaro" userId="99f4c19a-673e-4fa1-a403-bcbf0c906067" providerId="ADAL" clId="{E0005CC5-CBA3-4F87-8931-9D107790B2E3}" dt="2023-05-30T07:43:57.875" v="127"/>
          <ac:graphicFrameMkLst>
            <pc:docMk/>
            <pc:sldMk cId="3112048226" sldId="2147376544"/>
            <ac:graphicFrameMk id="25" creationId="{C3E3F993-5029-4155-A86A-2C2CA74605FE}"/>
          </ac:graphicFrameMkLst>
        </pc:graphicFrameChg>
        <pc:cxnChg chg="mod">
          <ac:chgData name="Nishi, Kentaro" userId="99f4c19a-673e-4fa1-a403-bcbf0c906067" providerId="ADAL" clId="{E0005CC5-CBA3-4F87-8931-9D107790B2E3}" dt="2023-05-30T08:19:06.822" v="813" actId="1035"/>
          <ac:cxnSpMkLst>
            <pc:docMk/>
            <pc:sldMk cId="3112048226" sldId="2147376544"/>
            <ac:cxnSpMk id="19" creationId="{77CC8FD1-B29B-4261-9498-CE4394400580}"/>
          </ac:cxnSpMkLst>
        </pc:cxnChg>
        <pc:cxnChg chg="add del mod">
          <ac:chgData name="Nishi, Kentaro" userId="99f4c19a-673e-4fa1-a403-bcbf0c906067" providerId="ADAL" clId="{E0005CC5-CBA3-4F87-8931-9D107790B2E3}" dt="2023-05-30T07:43:57.875" v="127"/>
          <ac:cxnSpMkLst>
            <pc:docMk/>
            <pc:sldMk cId="3112048226" sldId="2147376544"/>
            <ac:cxnSpMk id="28" creationId="{0DA383DB-B15D-4987-85B9-EEF626648723}"/>
          </ac:cxnSpMkLst>
        </pc:cxnChg>
      </pc:sldChg>
      <pc:sldChg chg="addSp delSp modSp mod">
        <pc:chgData name="Nishi, Kentaro" userId="99f4c19a-673e-4fa1-a403-bcbf0c906067" providerId="ADAL" clId="{E0005CC5-CBA3-4F87-8931-9D107790B2E3}" dt="2023-05-30T09:31:32.648" v="1223" actId="20577"/>
        <pc:sldMkLst>
          <pc:docMk/>
          <pc:sldMk cId="3266287845" sldId="2147376546"/>
        </pc:sldMkLst>
        <pc:spChg chg="mod">
          <ac:chgData name="Nishi, Kentaro" userId="99f4c19a-673e-4fa1-a403-bcbf0c906067" providerId="ADAL" clId="{E0005CC5-CBA3-4F87-8931-9D107790B2E3}" dt="2023-05-30T07:45:33.049" v="250" actId="1035"/>
          <ac:spMkLst>
            <pc:docMk/>
            <pc:sldMk cId="3266287845" sldId="2147376546"/>
            <ac:spMk id="5" creationId="{A5E3BDFA-97E1-4143-A290-5878289A261F}"/>
          </ac:spMkLst>
        </pc:spChg>
        <pc:spChg chg="add del mod">
          <ac:chgData name="Nishi, Kentaro" userId="99f4c19a-673e-4fa1-a403-bcbf0c906067" providerId="ADAL" clId="{E0005CC5-CBA3-4F87-8931-9D107790B2E3}" dt="2023-05-30T09:31:23.372" v="1221" actId="1035"/>
          <ac:spMkLst>
            <pc:docMk/>
            <pc:sldMk cId="3266287845" sldId="2147376546"/>
            <ac:spMk id="6" creationId="{AAB0A226-BA4B-49AB-9DEF-CACD3E2E5D1F}"/>
          </ac:spMkLst>
        </pc:spChg>
        <pc:spChg chg="add del mod">
          <ac:chgData name="Nishi, Kentaro" userId="99f4c19a-673e-4fa1-a403-bcbf0c906067" providerId="ADAL" clId="{E0005CC5-CBA3-4F87-8931-9D107790B2E3}" dt="2023-05-30T09:31:23.372" v="1221" actId="1035"/>
          <ac:spMkLst>
            <pc:docMk/>
            <pc:sldMk cId="3266287845" sldId="2147376546"/>
            <ac:spMk id="7" creationId="{F13DA401-B1FB-4202-8986-3D1F54F143F0}"/>
          </ac:spMkLst>
        </pc:spChg>
        <pc:spChg chg="add del mod">
          <ac:chgData name="Nishi, Kentaro" userId="99f4c19a-673e-4fa1-a403-bcbf0c906067" providerId="ADAL" clId="{E0005CC5-CBA3-4F87-8931-9D107790B2E3}" dt="2023-05-30T09:31:27.504" v="1222" actId="20577"/>
          <ac:spMkLst>
            <pc:docMk/>
            <pc:sldMk cId="3266287845" sldId="2147376546"/>
            <ac:spMk id="9" creationId="{9C91125B-EBB5-45E5-9F5E-A9F4E3E9C946}"/>
          </ac:spMkLst>
        </pc:spChg>
        <pc:spChg chg="add del mod">
          <ac:chgData name="Nishi, Kentaro" userId="99f4c19a-673e-4fa1-a403-bcbf0c906067" providerId="ADAL" clId="{E0005CC5-CBA3-4F87-8931-9D107790B2E3}" dt="2023-05-30T09:31:23.372" v="1221" actId="1035"/>
          <ac:spMkLst>
            <pc:docMk/>
            <pc:sldMk cId="3266287845" sldId="2147376546"/>
            <ac:spMk id="10" creationId="{3F32A078-33B2-47FA-988C-71DB3F3F15E2}"/>
          </ac:spMkLst>
        </pc:spChg>
        <pc:spChg chg="add del mod">
          <ac:chgData name="Nishi, Kentaro" userId="99f4c19a-673e-4fa1-a403-bcbf0c906067" providerId="ADAL" clId="{E0005CC5-CBA3-4F87-8931-9D107790B2E3}" dt="2023-05-30T09:31:32.648" v="1223" actId="20577"/>
          <ac:spMkLst>
            <pc:docMk/>
            <pc:sldMk cId="3266287845" sldId="2147376546"/>
            <ac:spMk id="11" creationId="{BA7D3EB4-0652-4CDD-A3E8-AD29BA05EE45}"/>
          </ac:spMkLst>
        </pc:spChg>
        <pc:spChg chg="add del mod">
          <ac:chgData name="Nishi, Kentaro" userId="99f4c19a-673e-4fa1-a403-bcbf0c906067" providerId="ADAL" clId="{E0005CC5-CBA3-4F87-8931-9D107790B2E3}" dt="2023-05-30T09:31:23.372" v="1221" actId="1035"/>
          <ac:spMkLst>
            <pc:docMk/>
            <pc:sldMk cId="3266287845" sldId="2147376546"/>
            <ac:spMk id="12" creationId="{0982ED4E-26BB-44AD-B0D6-44F19D394546}"/>
          </ac:spMkLst>
        </pc:spChg>
        <pc:spChg chg="del mod">
          <ac:chgData name="Nishi, Kentaro" userId="99f4c19a-673e-4fa1-a403-bcbf0c906067" providerId="ADAL" clId="{E0005CC5-CBA3-4F87-8931-9D107790B2E3}" dt="2023-05-30T07:46:26.512" v="283" actId="478"/>
          <ac:spMkLst>
            <pc:docMk/>
            <pc:sldMk cId="3266287845" sldId="2147376546"/>
            <ac:spMk id="19" creationId="{4759C66F-5E83-4BCD-83DC-EBF96893C342}"/>
          </ac:spMkLst>
        </pc:spChg>
        <pc:spChg chg="add mod">
          <ac:chgData name="Nishi, Kentaro" userId="99f4c19a-673e-4fa1-a403-bcbf0c906067" providerId="ADAL" clId="{E0005CC5-CBA3-4F87-8931-9D107790B2E3}" dt="2023-05-30T07:40:14.753" v="65" actId="571"/>
          <ac:spMkLst>
            <pc:docMk/>
            <pc:sldMk cId="3266287845" sldId="2147376546"/>
            <ac:spMk id="20" creationId="{872A2F00-E2B8-4C39-8E39-3D9A1BAD566B}"/>
          </ac:spMkLst>
        </pc:spChg>
        <pc:spChg chg="mod">
          <ac:chgData name="Nishi, Kentaro" userId="99f4c19a-673e-4fa1-a403-bcbf0c906067" providerId="ADAL" clId="{E0005CC5-CBA3-4F87-8931-9D107790B2E3}" dt="2023-05-30T07:49:01.991" v="382" actId="20577"/>
          <ac:spMkLst>
            <pc:docMk/>
            <pc:sldMk cId="3266287845" sldId="2147376546"/>
            <ac:spMk id="21" creationId="{2D094433-E9EE-4A09-B72E-CC62BFF466F5}"/>
          </ac:spMkLst>
        </pc:spChg>
        <pc:spChg chg="add mod">
          <ac:chgData name="Nishi, Kentaro" userId="99f4c19a-673e-4fa1-a403-bcbf0c906067" providerId="ADAL" clId="{E0005CC5-CBA3-4F87-8931-9D107790B2E3}" dt="2023-05-30T07:40:14.753" v="65" actId="571"/>
          <ac:spMkLst>
            <pc:docMk/>
            <pc:sldMk cId="3266287845" sldId="2147376546"/>
            <ac:spMk id="22" creationId="{3AABE18D-61C2-4C1E-A1B7-6F10B67C9539}"/>
          </ac:spMkLst>
        </pc:spChg>
        <pc:spChg chg="add mod">
          <ac:chgData name="Nishi, Kentaro" userId="99f4c19a-673e-4fa1-a403-bcbf0c906067" providerId="ADAL" clId="{E0005CC5-CBA3-4F87-8931-9D107790B2E3}" dt="2023-05-30T07:40:14.753" v="65" actId="571"/>
          <ac:spMkLst>
            <pc:docMk/>
            <pc:sldMk cId="3266287845" sldId="2147376546"/>
            <ac:spMk id="23" creationId="{5C08F50D-1FE7-42E3-8089-6B4D2B19C013}"/>
          </ac:spMkLst>
        </pc:spChg>
        <pc:spChg chg="add mod">
          <ac:chgData name="Nishi, Kentaro" userId="99f4c19a-673e-4fa1-a403-bcbf0c906067" providerId="ADAL" clId="{E0005CC5-CBA3-4F87-8931-9D107790B2E3}" dt="2023-05-30T09:31:23.372" v="1221" actId="1035"/>
          <ac:spMkLst>
            <pc:docMk/>
            <pc:sldMk cId="3266287845" sldId="2147376546"/>
            <ac:spMk id="24" creationId="{DB110D58-C6CC-4CBE-9C72-5A803BC667C6}"/>
          </ac:spMkLst>
        </pc:spChg>
        <pc:spChg chg="add mod">
          <ac:chgData name="Nishi, Kentaro" userId="99f4c19a-673e-4fa1-a403-bcbf0c906067" providerId="ADAL" clId="{E0005CC5-CBA3-4F87-8931-9D107790B2E3}" dt="2023-05-30T09:31:23.372" v="1221" actId="1035"/>
          <ac:spMkLst>
            <pc:docMk/>
            <pc:sldMk cId="3266287845" sldId="2147376546"/>
            <ac:spMk id="25" creationId="{D256E27E-0527-4414-834D-46EF6F69F216}"/>
          </ac:spMkLst>
        </pc:spChg>
        <pc:spChg chg="add mod">
          <ac:chgData name="Nishi, Kentaro" userId="99f4c19a-673e-4fa1-a403-bcbf0c906067" providerId="ADAL" clId="{E0005CC5-CBA3-4F87-8931-9D107790B2E3}" dt="2023-05-30T09:31:23.372" v="1221" actId="1035"/>
          <ac:spMkLst>
            <pc:docMk/>
            <pc:sldMk cId="3266287845" sldId="2147376546"/>
            <ac:spMk id="26" creationId="{13BB6BF8-3906-431C-A1B3-B8BCC0112BB7}"/>
          </ac:spMkLst>
        </pc:spChg>
        <pc:spChg chg="add mod">
          <ac:chgData name="Nishi, Kentaro" userId="99f4c19a-673e-4fa1-a403-bcbf0c906067" providerId="ADAL" clId="{E0005CC5-CBA3-4F87-8931-9D107790B2E3}" dt="2023-05-30T09:31:23.372" v="1221" actId="1035"/>
          <ac:spMkLst>
            <pc:docMk/>
            <pc:sldMk cId="3266287845" sldId="2147376546"/>
            <ac:spMk id="27" creationId="{2D5E6E76-8C98-4702-8B35-5D6D3AB57EC1}"/>
          </ac:spMkLst>
        </pc:spChg>
        <pc:spChg chg="add mod">
          <ac:chgData name="Nishi, Kentaro" userId="99f4c19a-673e-4fa1-a403-bcbf0c906067" providerId="ADAL" clId="{E0005CC5-CBA3-4F87-8931-9D107790B2E3}" dt="2023-05-30T09:31:23.372" v="1221" actId="1035"/>
          <ac:spMkLst>
            <pc:docMk/>
            <pc:sldMk cId="3266287845" sldId="2147376546"/>
            <ac:spMk id="28" creationId="{B39336B4-C842-45A7-9C89-B9815D09BD5C}"/>
          </ac:spMkLst>
        </pc:spChg>
        <pc:spChg chg="add mod">
          <ac:chgData name="Nishi, Kentaro" userId="99f4c19a-673e-4fa1-a403-bcbf0c906067" providerId="ADAL" clId="{E0005CC5-CBA3-4F87-8931-9D107790B2E3}" dt="2023-05-30T09:31:23.372" v="1221" actId="1035"/>
          <ac:spMkLst>
            <pc:docMk/>
            <pc:sldMk cId="3266287845" sldId="2147376546"/>
            <ac:spMk id="29" creationId="{2A80B523-B37A-4060-A519-2137C0505814}"/>
          </ac:spMkLst>
        </pc:spChg>
        <pc:spChg chg="add mod">
          <ac:chgData name="Nishi, Kentaro" userId="99f4c19a-673e-4fa1-a403-bcbf0c906067" providerId="ADAL" clId="{E0005CC5-CBA3-4F87-8931-9D107790B2E3}" dt="2023-05-30T09:31:23.372" v="1221" actId="1035"/>
          <ac:spMkLst>
            <pc:docMk/>
            <pc:sldMk cId="3266287845" sldId="2147376546"/>
            <ac:spMk id="30" creationId="{055B05BB-6523-401F-A09E-02DBD5B41236}"/>
          </ac:spMkLst>
        </pc:spChg>
        <pc:grpChg chg="mod">
          <ac:chgData name="Nishi, Kentaro" userId="99f4c19a-673e-4fa1-a403-bcbf0c906067" providerId="ADAL" clId="{E0005CC5-CBA3-4F87-8931-9D107790B2E3}" dt="2023-05-30T09:31:23.372" v="1221" actId="1035"/>
          <ac:grpSpMkLst>
            <pc:docMk/>
            <pc:sldMk cId="3266287845" sldId="2147376546"/>
            <ac:grpSpMk id="13" creationId="{15CA5DF1-976B-4A3E-8EB6-835CB3B911A1}"/>
          </ac:grpSpMkLst>
        </pc:grpChg>
        <pc:grpChg chg="mod">
          <ac:chgData name="Nishi, Kentaro" userId="99f4c19a-673e-4fa1-a403-bcbf0c906067" providerId="ADAL" clId="{E0005CC5-CBA3-4F87-8931-9D107790B2E3}" dt="2023-05-30T09:31:23.372" v="1221" actId="1035"/>
          <ac:grpSpMkLst>
            <pc:docMk/>
            <pc:sldMk cId="3266287845" sldId="2147376546"/>
            <ac:grpSpMk id="16" creationId="{9BB608B8-5D56-45C4-8D2B-3029514805AB}"/>
          </ac:grpSpMkLst>
        </pc:grpChg>
      </pc:sldChg>
      <pc:sldChg chg="add del">
        <pc:chgData name="Nishi, Kentaro" userId="99f4c19a-673e-4fa1-a403-bcbf0c906067" providerId="ADAL" clId="{E0005CC5-CBA3-4F87-8931-9D107790B2E3}" dt="2023-05-30T07:48:48.745" v="368" actId="47"/>
        <pc:sldMkLst>
          <pc:docMk/>
          <pc:sldMk cId="495821926" sldId="2147376569"/>
        </pc:sldMkLst>
      </pc:sldChg>
      <pc:sldChg chg="addSp modSp mod">
        <pc:chgData name="Nishi, Kentaro" userId="99f4c19a-673e-4fa1-a403-bcbf0c906067" providerId="ADAL" clId="{E0005CC5-CBA3-4F87-8931-9D107790B2E3}" dt="2023-05-30T08:11:12.996" v="721" actId="20577"/>
        <pc:sldMkLst>
          <pc:docMk/>
          <pc:sldMk cId="1434538154" sldId="2147376571"/>
        </pc:sldMkLst>
        <pc:spChg chg="mod">
          <ac:chgData name="Nishi, Kentaro" userId="99f4c19a-673e-4fa1-a403-bcbf0c906067" providerId="ADAL" clId="{E0005CC5-CBA3-4F87-8931-9D107790B2E3}" dt="2023-05-30T08:11:12.996" v="721" actId="20577"/>
          <ac:spMkLst>
            <pc:docMk/>
            <pc:sldMk cId="1434538154" sldId="2147376571"/>
            <ac:spMk id="15" creationId="{3385D01D-3091-460E-B252-73B89C0FAA89}"/>
          </ac:spMkLst>
        </pc:spChg>
        <pc:spChg chg="add mod">
          <ac:chgData name="Nishi, Kentaro" userId="99f4c19a-673e-4fa1-a403-bcbf0c906067" providerId="ADAL" clId="{E0005CC5-CBA3-4F87-8931-9D107790B2E3}" dt="2023-05-30T07:52:10.540" v="468" actId="465"/>
          <ac:spMkLst>
            <pc:docMk/>
            <pc:sldMk cId="1434538154" sldId="2147376571"/>
            <ac:spMk id="16" creationId="{C22543E2-185E-42A4-BAC0-60606F844EA9}"/>
          </ac:spMkLst>
        </pc:spChg>
        <pc:spChg chg="mod">
          <ac:chgData name="Nishi, Kentaro" userId="99f4c19a-673e-4fa1-a403-bcbf0c906067" providerId="ADAL" clId="{E0005CC5-CBA3-4F87-8931-9D107790B2E3}" dt="2023-05-30T07:50:40.129" v="446" actId="14100"/>
          <ac:spMkLst>
            <pc:docMk/>
            <pc:sldMk cId="1434538154" sldId="2147376571"/>
            <ac:spMk id="17" creationId="{D57BC059-8152-40AA-8F59-641F93A32493}"/>
          </ac:spMkLst>
        </pc:spChg>
        <pc:spChg chg="mod">
          <ac:chgData name="Nishi, Kentaro" userId="99f4c19a-673e-4fa1-a403-bcbf0c906067" providerId="ADAL" clId="{E0005CC5-CBA3-4F87-8931-9D107790B2E3}" dt="2023-05-30T07:50:40.129" v="446" actId="14100"/>
          <ac:spMkLst>
            <pc:docMk/>
            <pc:sldMk cId="1434538154" sldId="2147376571"/>
            <ac:spMk id="18" creationId="{74842215-5A7B-4D81-B20C-9872F5899A4C}"/>
          </ac:spMkLst>
        </pc:spChg>
        <pc:spChg chg="mod">
          <ac:chgData name="Nishi, Kentaro" userId="99f4c19a-673e-4fa1-a403-bcbf0c906067" providerId="ADAL" clId="{E0005CC5-CBA3-4F87-8931-9D107790B2E3}" dt="2023-05-30T07:50:40.129" v="446" actId="14100"/>
          <ac:spMkLst>
            <pc:docMk/>
            <pc:sldMk cId="1434538154" sldId="2147376571"/>
            <ac:spMk id="19" creationId="{889F8362-C8EF-4CDE-9A05-715020D364C1}"/>
          </ac:spMkLst>
        </pc:spChg>
        <pc:spChg chg="add mod">
          <ac:chgData name="Nishi, Kentaro" userId="99f4c19a-673e-4fa1-a403-bcbf0c906067" providerId="ADAL" clId="{E0005CC5-CBA3-4F87-8931-9D107790B2E3}" dt="2023-05-30T07:52:19.328" v="469" actId="465"/>
          <ac:spMkLst>
            <pc:docMk/>
            <pc:sldMk cId="1434538154" sldId="2147376571"/>
            <ac:spMk id="22" creationId="{AEBABBCB-43F1-4302-B216-9D569A91F0D9}"/>
          </ac:spMkLst>
        </pc:spChg>
        <pc:spChg chg="add mod">
          <ac:chgData name="Nishi, Kentaro" userId="99f4c19a-673e-4fa1-a403-bcbf0c906067" providerId="ADAL" clId="{E0005CC5-CBA3-4F87-8931-9D107790B2E3}" dt="2023-05-30T07:51:38.441" v="454"/>
          <ac:spMkLst>
            <pc:docMk/>
            <pc:sldMk cId="1434538154" sldId="2147376571"/>
            <ac:spMk id="23" creationId="{D28DA1F9-84B3-4970-996B-26D115882353}"/>
          </ac:spMkLst>
        </pc:spChg>
        <pc:spChg chg="add mod">
          <ac:chgData name="Nishi, Kentaro" userId="99f4c19a-673e-4fa1-a403-bcbf0c906067" providerId="ADAL" clId="{E0005CC5-CBA3-4F87-8931-9D107790B2E3}" dt="2023-05-30T07:50:50.928" v="447" actId="571"/>
          <ac:spMkLst>
            <pc:docMk/>
            <pc:sldMk cId="1434538154" sldId="2147376571"/>
            <ac:spMk id="25" creationId="{7E26F40E-7526-492F-83A4-C22C3954D76F}"/>
          </ac:spMkLst>
        </pc:spChg>
        <pc:spChg chg="add mod">
          <ac:chgData name="Nishi, Kentaro" userId="99f4c19a-673e-4fa1-a403-bcbf0c906067" providerId="ADAL" clId="{E0005CC5-CBA3-4F87-8931-9D107790B2E3}" dt="2023-05-30T07:50:50.928" v="447" actId="571"/>
          <ac:spMkLst>
            <pc:docMk/>
            <pc:sldMk cId="1434538154" sldId="2147376571"/>
            <ac:spMk id="26" creationId="{91E40C5B-A482-4BE7-B099-68148F4CBD10}"/>
          </ac:spMkLst>
        </pc:spChg>
        <pc:spChg chg="mod">
          <ac:chgData name="Nishi, Kentaro" userId="99f4c19a-673e-4fa1-a403-bcbf0c906067" providerId="ADAL" clId="{E0005CC5-CBA3-4F87-8931-9D107790B2E3}" dt="2023-05-30T07:50:40.129" v="446" actId="14100"/>
          <ac:spMkLst>
            <pc:docMk/>
            <pc:sldMk cId="1434538154" sldId="2147376571"/>
            <ac:spMk id="28" creationId="{A2F2418B-EFB3-4E6C-8A6C-72B22E468AA2}"/>
          </ac:spMkLst>
        </pc:spChg>
        <pc:spChg chg="mod">
          <ac:chgData name="Nishi, Kentaro" userId="99f4c19a-673e-4fa1-a403-bcbf0c906067" providerId="ADAL" clId="{E0005CC5-CBA3-4F87-8931-9D107790B2E3}" dt="2023-05-30T07:50:40.129" v="446" actId="14100"/>
          <ac:spMkLst>
            <pc:docMk/>
            <pc:sldMk cId="1434538154" sldId="2147376571"/>
            <ac:spMk id="29" creationId="{9E83A618-95DC-4AB0-888C-8CFAE801908B}"/>
          </ac:spMkLst>
        </pc:spChg>
        <pc:spChg chg="add mod">
          <ac:chgData name="Nishi, Kentaro" userId="99f4c19a-673e-4fa1-a403-bcbf0c906067" providerId="ADAL" clId="{E0005CC5-CBA3-4F87-8931-9D107790B2E3}" dt="2023-05-30T07:51:13.149" v="450"/>
          <ac:spMkLst>
            <pc:docMk/>
            <pc:sldMk cId="1434538154" sldId="2147376571"/>
            <ac:spMk id="31" creationId="{15FC2D0B-6EE8-4C08-A070-FCE15F07E9F3}"/>
          </ac:spMkLst>
        </pc:spChg>
        <pc:spChg chg="add mod">
          <ac:chgData name="Nishi, Kentaro" userId="99f4c19a-673e-4fa1-a403-bcbf0c906067" providerId="ADAL" clId="{E0005CC5-CBA3-4F87-8931-9D107790B2E3}" dt="2023-05-30T07:52:05.764" v="467"/>
          <ac:spMkLst>
            <pc:docMk/>
            <pc:sldMk cId="1434538154" sldId="2147376571"/>
            <ac:spMk id="32" creationId="{CCC52D8F-E05F-49CE-BD35-82C468623BD5}"/>
          </ac:spMkLst>
        </pc:spChg>
        <pc:spChg chg="add mod">
          <ac:chgData name="Nishi, Kentaro" userId="99f4c19a-673e-4fa1-a403-bcbf0c906067" providerId="ADAL" clId="{E0005CC5-CBA3-4F87-8931-9D107790B2E3}" dt="2023-05-30T07:51:44.994" v="456" actId="20577"/>
          <ac:spMkLst>
            <pc:docMk/>
            <pc:sldMk cId="1434538154" sldId="2147376571"/>
            <ac:spMk id="33" creationId="{A5779CB6-475F-4631-A826-E0B46B154CC4}"/>
          </ac:spMkLst>
        </pc:spChg>
        <pc:spChg chg="add mod">
          <ac:chgData name="Nishi, Kentaro" userId="99f4c19a-673e-4fa1-a403-bcbf0c906067" providerId="ADAL" clId="{E0005CC5-CBA3-4F87-8931-9D107790B2E3}" dt="2023-05-30T07:50:54.978" v="448" actId="571"/>
          <ac:spMkLst>
            <pc:docMk/>
            <pc:sldMk cId="1434538154" sldId="2147376571"/>
            <ac:spMk id="34" creationId="{070BAD18-BB1E-469B-AA02-0D37CC8805E4}"/>
          </ac:spMkLst>
        </pc:spChg>
        <pc:spChg chg="add mod">
          <ac:chgData name="Nishi, Kentaro" userId="99f4c19a-673e-4fa1-a403-bcbf0c906067" providerId="ADAL" clId="{E0005CC5-CBA3-4F87-8931-9D107790B2E3}" dt="2023-05-30T07:50:54.978" v="448" actId="571"/>
          <ac:spMkLst>
            <pc:docMk/>
            <pc:sldMk cId="1434538154" sldId="2147376571"/>
            <ac:spMk id="35" creationId="{C212AB9B-3407-4361-BC0C-5174456DCA0B}"/>
          </ac:spMkLst>
        </pc:spChg>
      </pc:sldChg>
      <pc:sldChg chg="add del">
        <pc:chgData name="Nishi, Kentaro" userId="99f4c19a-673e-4fa1-a403-bcbf0c906067" providerId="ADAL" clId="{E0005CC5-CBA3-4F87-8931-9D107790B2E3}" dt="2023-05-30T07:51:55.168" v="457" actId="47"/>
        <pc:sldMkLst>
          <pc:docMk/>
          <pc:sldMk cId="1888080531" sldId="2147376573"/>
        </pc:sldMkLst>
      </pc:sldChg>
      <pc:sldChg chg="addSp delSp modSp mod">
        <pc:chgData name="Nishi, Kentaro" userId="99f4c19a-673e-4fa1-a403-bcbf0c906067" providerId="ADAL" clId="{E0005CC5-CBA3-4F87-8931-9D107790B2E3}" dt="2023-05-30T09:39:25.423" v="1330"/>
        <pc:sldMkLst>
          <pc:docMk/>
          <pc:sldMk cId="2154837173" sldId="2147376577"/>
        </pc:sldMkLst>
        <pc:spChg chg="mod">
          <ac:chgData name="Nishi, Kentaro" userId="99f4c19a-673e-4fa1-a403-bcbf0c906067" providerId="ADAL" clId="{E0005CC5-CBA3-4F87-8931-9D107790B2E3}" dt="2023-05-30T07:56:20.599" v="671" actId="14100"/>
          <ac:spMkLst>
            <pc:docMk/>
            <pc:sldMk cId="2154837173" sldId="2147376577"/>
            <ac:spMk id="11" creationId="{892F7042-29A0-465A-BA68-E9470CCF7063}"/>
          </ac:spMkLst>
        </pc:spChg>
        <pc:spChg chg="add mod">
          <ac:chgData name="Nishi, Kentaro" userId="99f4c19a-673e-4fa1-a403-bcbf0c906067" providerId="ADAL" clId="{E0005CC5-CBA3-4F87-8931-9D107790B2E3}" dt="2023-05-30T07:57:08.076" v="687" actId="14100"/>
          <ac:spMkLst>
            <pc:docMk/>
            <pc:sldMk cId="2154837173" sldId="2147376577"/>
            <ac:spMk id="12" creationId="{E5EB7CF3-9335-4B7A-9608-30050EF60CC1}"/>
          </ac:spMkLst>
        </pc:spChg>
        <pc:spChg chg="del mod">
          <ac:chgData name="Nishi, Kentaro" userId="99f4c19a-673e-4fa1-a403-bcbf0c906067" providerId="ADAL" clId="{E0005CC5-CBA3-4F87-8931-9D107790B2E3}" dt="2023-05-30T09:39:25.254" v="1329" actId="478"/>
          <ac:spMkLst>
            <pc:docMk/>
            <pc:sldMk cId="2154837173" sldId="2147376577"/>
            <ac:spMk id="14" creationId="{E5EA14FD-543A-44CC-ABFD-8126CECFEAD6}"/>
          </ac:spMkLst>
        </pc:spChg>
        <pc:spChg chg="add mod">
          <ac:chgData name="Nishi, Kentaro" userId="99f4c19a-673e-4fa1-a403-bcbf0c906067" providerId="ADAL" clId="{E0005CC5-CBA3-4F87-8931-9D107790B2E3}" dt="2023-05-30T07:57:08.076" v="687" actId="14100"/>
          <ac:spMkLst>
            <pc:docMk/>
            <pc:sldMk cId="2154837173" sldId="2147376577"/>
            <ac:spMk id="15" creationId="{E69501B2-A27B-4FDF-BED1-FCF407CFFF0D}"/>
          </ac:spMkLst>
        </pc:spChg>
        <pc:spChg chg="add del mod">
          <ac:chgData name="Nishi, Kentaro" userId="99f4c19a-673e-4fa1-a403-bcbf0c906067" providerId="ADAL" clId="{E0005CC5-CBA3-4F87-8931-9D107790B2E3}" dt="2023-05-30T07:57:01.745" v="686" actId="478"/>
          <ac:spMkLst>
            <pc:docMk/>
            <pc:sldMk cId="2154837173" sldId="2147376577"/>
            <ac:spMk id="16" creationId="{ADAD9236-5803-41C4-A288-FA25FE77F641}"/>
          </ac:spMkLst>
        </pc:spChg>
        <pc:spChg chg="add mod">
          <ac:chgData name="Nishi, Kentaro" userId="99f4c19a-673e-4fa1-a403-bcbf0c906067" providerId="ADAL" clId="{E0005CC5-CBA3-4F87-8931-9D107790B2E3}" dt="2023-05-30T07:56:59.747" v="685"/>
          <ac:spMkLst>
            <pc:docMk/>
            <pc:sldMk cId="2154837173" sldId="2147376577"/>
            <ac:spMk id="17" creationId="{4028F4B3-49DB-4D76-8EB9-DC173B22B1A2}"/>
          </ac:spMkLst>
        </pc:spChg>
        <pc:spChg chg="add mod">
          <ac:chgData name="Nishi, Kentaro" userId="99f4c19a-673e-4fa1-a403-bcbf0c906067" providerId="ADAL" clId="{E0005CC5-CBA3-4F87-8931-9D107790B2E3}" dt="2023-05-30T07:56:55.867" v="680"/>
          <ac:spMkLst>
            <pc:docMk/>
            <pc:sldMk cId="2154837173" sldId="2147376577"/>
            <ac:spMk id="18" creationId="{FABE0038-F1C6-4872-ACCA-5AFEA957C996}"/>
          </ac:spMkLst>
        </pc:spChg>
        <pc:spChg chg="add mod">
          <ac:chgData name="Nishi, Kentaro" userId="99f4c19a-673e-4fa1-a403-bcbf0c906067" providerId="ADAL" clId="{E0005CC5-CBA3-4F87-8931-9D107790B2E3}" dt="2023-05-30T07:57:41.310" v="715" actId="1035"/>
          <ac:spMkLst>
            <pc:docMk/>
            <pc:sldMk cId="2154837173" sldId="2147376577"/>
            <ac:spMk id="19" creationId="{E1412762-B132-4558-8602-A6AC4898F9B9}"/>
          </ac:spMkLst>
        </pc:spChg>
        <pc:spChg chg="add mod">
          <ac:chgData name="Nishi, Kentaro" userId="99f4c19a-673e-4fa1-a403-bcbf0c906067" providerId="ADAL" clId="{E0005CC5-CBA3-4F87-8931-9D107790B2E3}" dt="2023-05-30T09:39:25.423" v="1330"/>
          <ac:spMkLst>
            <pc:docMk/>
            <pc:sldMk cId="2154837173" sldId="2147376577"/>
            <ac:spMk id="20" creationId="{958EE7AF-8C91-4B0C-9A03-D79D12DF4493}"/>
          </ac:spMkLst>
        </pc:spChg>
        <pc:spChg chg="mod">
          <ac:chgData name="Nishi, Kentaro" userId="99f4c19a-673e-4fa1-a403-bcbf0c906067" providerId="ADAL" clId="{E0005CC5-CBA3-4F87-8931-9D107790B2E3}" dt="2023-05-30T07:54:55.627" v="519" actId="1035"/>
          <ac:spMkLst>
            <pc:docMk/>
            <pc:sldMk cId="2154837173" sldId="2147376577"/>
            <ac:spMk id="26" creationId="{FC392F22-C624-40E3-AA68-A538900D7E47}"/>
          </ac:spMkLst>
        </pc:spChg>
        <pc:spChg chg="mod">
          <ac:chgData name="Nishi, Kentaro" userId="99f4c19a-673e-4fa1-a403-bcbf0c906067" providerId="ADAL" clId="{E0005CC5-CBA3-4F87-8931-9D107790B2E3}" dt="2023-05-30T07:57:08.076" v="687" actId="14100"/>
          <ac:spMkLst>
            <pc:docMk/>
            <pc:sldMk cId="2154837173" sldId="2147376577"/>
            <ac:spMk id="28" creationId="{1A697BA9-34AC-4E0A-B162-CCF70C939B78}"/>
          </ac:spMkLst>
        </pc:spChg>
        <pc:cxnChg chg="mod">
          <ac:chgData name="Nishi, Kentaro" userId="99f4c19a-673e-4fa1-a403-bcbf0c906067" providerId="ADAL" clId="{E0005CC5-CBA3-4F87-8931-9D107790B2E3}" dt="2023-05-30T07:55:53.870" v="635" actId="408"/>
          <ac:cxnSpMkLst>
            <pc:docMk/>
            <pc:sldMk cId="2154837173" sldId="2147376577"/>
            <ac:cxnSpMk id="27" creationId="{26157282-37FA-44C6-B480-C155C285F76E}"/>
          </ac:cxnSpMkLst>
        </pc:cxnChg>
      </pc:sldChg>
      <pc:sldChg chg="modSp mod">
        <pc:chgData name="Nishi, Kentaro" userId="99f4c19a-673e-4fa1-a403-bcbf0c906067" providerId="ADAL" clId="{E0005CC5-CBA3-4F87-8931-9D107790B2E3}" dt="2023-05-30T07:54:24.770" v="486" actId="14100"/>
        <pc:sldMkLst>
          <pc:docMk/>
          <pc:sldMk cId="3298366041" sldId="2147376582"/>
        </pc:sldMkLst>
        <pc:graphicFrameChg chg="mod modGraphic">
          <ac:chgData name="Nishi, Kentaro" userId="99f4c19a-673e-4fa1-a403-bcbf0c906067" providerId="ADAL" clId="{E0005CC5-CBA3-4F87-8931-9D107790B2E3}" dt="2023-05-30T07:54:24.770" v="486" actId="14100"/>
          <ac:graphicFrameMkLst>
            <pc:docMk/>
            <pc:sldMk cId="3298366041" sldId="2147376582"/>
            <ac:graphicFrameMk id="17" creationId="{0BEEA107-2F77-4386-9F42-4ACFA7228B71}"/>
          </ac:graphicFrameMkLst>
        </pc:graphicFrameChg>
      </pc:sldChg>
      <pc:sldChg chg="del">
        <pc:chgData name="Nishi, Kentaro" userId="99f4c19a-673e-4fa1-a403-bcbf0c906067" providerId="ADAL" clId="{E0005CC5-CBA3-4F87-8931-9D107790B2E3}" dt="2023-05-30T07:57:26.134" v="698" actId="47"/>
        <pc:sldMkLst>
          <pc:docMk/>
          <pc:sldMk cId="1505456429" sldId="2147376591"/>
        </pc:sldMkLst>
      </pc:sldChg>
      <pc:sldChg chg="del">
        <pc:chgData name="Nishi, Kentaro" userId="99f4c19a-673e-4fa1-a403-bcbf0c906067" providerId="ADAL" clId="{E0005CC5-CBA3-4F87-8931-9D107790B2E3}" dt="2023-05-30T07:57:26.134" v="698" actId="47"/>
        <pc:sldMkLst>
          <pc:docMk/>
          <pc:sldMk cId="1450565050" sldId="2147376592"/>
        </pc:sldMkLst>
      </pc:sldChg>
      <pc:sldChg chg="add del">
        <pc:chgData name="Nishi, Kentaro" userId="99f4c19a-673e-4fa1-a403-bcbf0c906067" providerId="ADAL" clId="{E0005CC5-CBA3-4F87-8931-9D107790B2E3}" dt="2023-05-30T07:51:55.168" v="457" actId="47"/>
        <pc:sldMkLst>
          <pc:docMk/>
          <pc:sldMk cId="79892892" sldId="2147376593"/>
        </pc:sldMkLst>
      </pc:sldChg>
      <pc:sldChg chg="addSp delSp modSp mod">
        <pc:chgData name="Nishi, Kentaro" userId="99f4c19a-673e-4fa1-a403-bcbf0c906067" providerId="ADAL" clId="{E0005CC5-CBA3-4F87-8931-9D107790B2E3}" dt="2023-05-30T09:39:16.280" v="1326" actId="20577"/>
        <pc:sldMkLst>
          <pc:docMk/>
          <pc:sldMk cId="2657891735" sldId="2147376607"/>
        </pc:sldMkLst>
        <pc:spChg chg="mod">
          <ac:chgData name="Nishi, Kentaro" userId="99f4c19a-673e-4fa1-a403-bcbf0c906067" providerId="ADAL" clId="{E0005CC5-CBA3-4F87-8931-9D107790B2E3}" dt="2023-05-30T08:21:57.412" v="948" actId="1035"/>
          <ac:spMkLst>
            <pc:docMk/>
            <pc:sldMk cId="2657891735" sldId="2147376607"/>
            <ac:spMk id="11" creationId="{02DE354F-659D-452A-B452-81E7F1D13DB0}"/>
          </ac:spMkLst>
        </pc:spChg>
        <pc:spChg chg="mod">
          <ac:chgData name="Nishi, Kentaro" userId="99f4c19a-673e-4fa1-a403-bcbf0c906067" providerId="ADAL" clId="{E0005CC5-CBA3-4F87-8931-9D107790B2E3}" dt="2023-05-30T09:16:44.397" v="1030" actId="1036"/>
          <ac:spMkLst>
            <pc:docMk/>
            <pc:sldMk cId="2657891735" sldId="2147376607"/>
            <ac:spMk id="12" creationId="{572FED04-C66E-44D0-9E47-E97A67D4FE80}"/>
          </ac:spMkLst>
        </pc:spChg>
        <pc:spChg chg="mod">
          <ac:chgData name="Nishi, Kentaro" userId="99f4c19a-673e-4fa1-a403-bcbf0c906067" providerId="ADAL" clId="{E0005CC5-CBA3-4F87-8931-9D107790B2E3}" dt="2023-05-30T08:21:57.412" v="948" actId="1035"/>
          <ac:spMkLst>
            <pc:docMk/>
            <pc:sldMk cId="2657891735" sldId="2147376607"/>
            <ac:spMk id="13" creationId="{8FB4151F-9694-4DC6-824E-D335FB04B89E}"/>
          </ac:spMkLst>
        </pc:spChg>
        <pc:spChg chg="mod">
          <ac:chgData name="Nishi, Kentaro" userId="99f4c19a-673e-4fa1-a403-bcbf0c906067" providerId="ADAL" clId="{E0005CC5-CBA3-4F87-8931-9D107790B2E3}" dt="2023-05-30T09:16:44.397" v="1030" actId="1036"/>
          <ac:spMkLst>
            <pc:docMk/>
            <pc:sldMk cId="2657891735" sldId="2147376607"/>
            <ac:spMk id="14" creationId="{74625B7A-FF01-4A8A-9B2B-A0C522C884E0}"/>
          </ac:spMkLst>
        </pc:spChg>
        <pc:spChg chg="mod">
          <ac:chgData name="Nishi, Kentaro" userId="99f4c19a-673e-4fa1-a403-bcbf0c906067" providerId="ADAL" clId="{E0005CC5-CBA3-4F87-8931-9D107790B2E3}" dt="2023-05-30T09:39:01.359" v="1319" actId="1076"/>
          <ac:spMkLst>
            <pc:docMk/>
            <pc:sldMk cId="2657891735" sldId="2147376607"/>
            <ac:spMk id="15" creationId="{A625C7D5-1229-417D-84BF-A1C4E8373E70}"/>
          </ac:spMkLst>
        </pc:spChg>
        <pc:spChg chg="mod">
          <ac:chgData name="Nishi, Kentaro" userId="99f4c19a-673e-4fa1-a403-bcbf0c906067" providerId="ADAL" clId="{E0005CC5-CBA3-4F87-8931-9D107790B2E3}" dt="2023-05-30T09:39:16.280" v="1326" actId="20577"/>
          <ac:spMkLst>
            <pc:docMk/>
            <pc:sldMk cId="2657891735" sldId="2147376607"/>
            <ac:spMk id="19" creationId="{5C220D99-4AB5-46A7-A1B5-FC2A6F30C583}"/>
          </ac:spMkLst>
        </pc:spChg>
        <pc:spChg chg="mod">
          <ac:chgData name="Nishi, Kentaro" userId="99f4c19a-673e-4fa1-a403-bcbf0c906067" providerId="ADAL" clId="{E0005CC5-CBA3-4F87-8931-9D107790B2E3}" dt="2023-05-30T08:21:57.412" v="948" actId="1035"/>
          <ac:spMkLst>
            <pc:docMk/>
            <pc:sldMk cId="2657891735" sldId="2147376607"/>
            <ac:spMk id="23" creationId="{A1D5FDF9-9DA0-4F3A-A553-1CC77C647182}"/>
          </ac:spMkLst>
        </pc:spChg>
        <pc:spChg chg="mod">
          <ac:chgData name="Nishi, Kentaro" userId="99f4c19a-673e-4fa1-a403-bcbf0c906067" providerId="ADAL" clId="{E0005CC5-CBA3-4F87-8931-9D107790B2E3}" dt="2023-05-30T08:21:57.412" v="948" actId="1035"/>
          <ac:spMkLst>
            <pc:docMk/>
            <pc:sldMk cId="2657891735" sldId="2147376607"/>
            <ac:spMk id="24" creationId="{AF346B92-5546-4A0F-83F3-19448BE06FDF}"/>
          </ac:spMkLst>
        </pc:spChg>
        <pc:spChg chg="mod">
          <ac:chgData name="Nishi, Kentaro" userId="99f4c19a-673e-4fa1-a403-bcbf0c906067" providerId="ADAL" clId="{E0005CC5-CBA3-4F87-8931-9D107790B2E3}" dt="2023-05-30T08:21:48.996" v="902" actId="5793"/>
          <ac:spMkLst>
            <pc:docMk/>
            <pc:sldMk cId="2657891735" sldId="2147376607"/>
            <ac:spMk id="26" creationId="{A3220A8B-96B0-434F-8BC8-4D321C80687D}"/>
          </ac:spMkLst>
        </pc:spChg>
        <pc:graphicFrameChg chg="add del mod modGraphic">
          <ac:chgData name="Nishi, Kentaro" userId="99f4c19a-673e-4fa1-a403-bcbf0c906067" providerId="ADAL" clId="{E0005CC5-CBA3-4F87-8931-9D107790B2E3}" dt="2023-05-30T09:30:26.992" v="1210" actId="478"/>
          <ac:graphicFrameMkLst>
            <pc:docMk/>
            <pc:sldMk cId="2657891735" sldId="2147376607"/>
            <ac:graphicFrameMk id="10" creationId="{F5D835BE-4565-4E0D-B668-E6286705F83D}"/>
          </ac:graphicFrameMkLst>
        </pc:graphicFrameChg>
        <pc:graphicFrameChg chg="del mod">
          <ac:chgData name="Nishi, Kentaro" userId="99f4c19a-673e-4fa1-a403-bcbf0c906067" providerId="ADAL" clId="{E0005CC5-CBA3-4F87-8931-9D107790B2E3}" dt="2023-05-30T09:18:09.803" v="1046" actId="478"/>
          <ac:graphicFrameMkLst>
            <pc:docMk/>
            <pc:sldMk cId="2657891735" sldId="2147376607"/>
            <ac:graphicFrameMk id="17" creationId="{402961C9-64DB-49BD-BBF6-5948E4ADC81F}"/>
          </ac:graphicFrameMkLst>
        </pc:graphicFrameChg>
        <pc:graphicFrameChg chg="add del mod modGraphic">
          <ac:chgData name="Nishi, Kentaro" userId="99f4c19a-673e-4fa1-a403-bcbf0c906067" providerId="ADAL" clId="{E0005CC5-CBA3-4F87-8931-9D107790B2E3}" dt="2023-05-30T09:37:46.774" v="1288" actId="478"/>
          <ac:graphicFrameMkLst>
            <pc:docMk/>
            <pc:sldMk cId="2657891735" sldId="2147376607"/>
            <ac:graphicFrameMk id="18" creationId="{11518969-8011-4A57-9F0C-FBF5E264AD28}"/>
          </ac:graphicFrameMkLst>
        </pc:graphicFrameChg>
        <pc:graphicFrameChg chg="del mod modGraphic">
          <ac:chgData name="Nishi, Kentaro" userId="99f4c19a-673e-4fa1-a403-bcbf0c906067" providerId="ADAL" clId="{E0005CC5-CBA3-4F87-8931-9D107790B2E3}" dt="2023-05-30T09:18:13.153" v="1048" actId="478"/>
          <ac:graphicFrameMkLst>
            <pc:docMk/>
            <pc:sldMk cId="2657891735" sldId="2147376607"/>
            <ac:graphicFrameMk id="20" creationId="{8CFAE8A5-4E96-40E0-A8B4-8FED013EA55B}"/>
          </ac:graphicFrameMkLst>
        </pc:graphicFrameChg>
        <pc:graphicFrameChg chg="del mod">
          <ac:chgData name="Nishi, Kentaro" userId="99f4c19a-673e-4fa1-a403-bcbf0c906067" providerId="ADAL" clId="{E0005CC5-CBA3-4F87-8931-9D107790B2E3}" dt="2023-05-30T09:18:11.609" v="1047" actId="478"/>
          <ac:graphicFrameMkLst>
            <pc:docMk/>
            <pc:sldMk cId="2657891735" sldId="2147376607"/>
            <ac:graphicFrameMk id="21" creationId="{E1A605B4-FB98-49AD-B87C-493144A829B0}"/>
          </ac:graphicFrameMkLst>
        </pc:graphicFrameChg>
        <pc:graphicFrameChg chg="add del mod modGraphic">
          <ac:chgData name="Nishi, Kentaro" userId="99f4c19a-673e-4fa1-a403-bcbf0c906067" providerId="ADAL" clId="{E0005CC5-CBA3-4F87-8931-9D107790B2E3}" dt="2023-05-30T09:38:08.097" v="1297" actId="478"/>
          <ac:graphicFrameMkLst>
            <pc:docMk/>
            <pc:sldMk cId="2657891735" sldId="2147376607"/>
            <ac:graphicFrameMk id="22" creationId="{3DC1627A-4E5C-4363-8D8B-A992CA122C28}"/>
          </ac:graphicFrameMkLst>
        </pc:graphicFrameChg>
        <pc:graphicFrameChg chg="add del mod modGraphic">
          <ac:chgData name="Nishi, Kentaro" userId="99f4c19a-673e-4fa1-a403-bcbf0c906067" providerId="ADAL" clId="{E0005CC5-CBA3-4F87-8931-9D107790B2E3}" dt="2023-05-30T09:38:17.274" v="1299" actId="478"/>
          <ac:graphicFrameMkLst>
            <pc:docMk/>
            <pc:sldMk cId="2657891735" sldId="2147376607"/>
            <ac:graphicFrameMk id="27" creationId="{EA0E6AEE-5EC1-4A73-80AC-441481A36A75}"/>
          </ac:graphicFrameMkLst>
        </pc:graphicFrameChg>
        <pc:graphicFrameChg chg="add mod">
          <ac:chgData name="Nishi, Kentaro" userId="99f4c19a-673e-4fa1-a403-bcbf0c906067" providerId="ADAL" clId="{E0005CC5-CBA3-4F87-8931-9D107790B2E3}" dt="2023-05-30T09:25:20.796" v="1151" actId="571"/>
          <ac:graphicFrameMkLst>
            <pc:docMk/>
            <pc:sldMk cId="2657891735" sldId="2147376607"/>
            <ac:graphicFrameMk id="28" creationId="{51BB07E9-C420-420C-9221-9B6C926F9708}"/>
          </ac:graphicFrameMkLst>
        </pc:graphicFrameChg>
        <pc:graphicFrameChg chg="add mod modGraphic">
          <ac:chgData name="Nishi, Kentaro" userId="99f4c19a-673e-4fa1-a403-bcbf0c906067" providerId="ADAL" clId="{E0005CC5-CBA3-4F87-8931-9D107790B2E3}" dt="2023-05-30T09:25:20.062" v="1150" actId="571"/>
          <ac:graphicFrameMkLst>
            <pc:docMk/>
            <pc:sldMk cId="2657891735" sldId="2147376607"/>
            <ac:graphicFrameMk id="29" creationId="{09C93CBD-967C-4B71-9D15-DF05B5FD5E88}"/>
          </ac:graphicFrameMkLst>
        </pc:graphicFrameChg>
        <pc:graphicFrameChg chg="add mod modGraphic">
          <ac:chgData name="Nishi, Kentaro" userId="99f4c19a-673e-4fa1-a403-bcbf0c906067" providerId="ADAL" clId="{E0005CC5-CBA3-4F87-8931-9D107790B2E3}" dt="2023-05-30T09:30:21.468" v="1207" actId="571"/>
          <ac:graphicFrameMkLst>
            <pc:docMk/>
            <pc:sldMk cId="2657891735" sldId="2147376607"/>
            <ac:graphicFrameMk id="30" creationId="{2578AB51-8D23-40C2-BCCC-59CC98753162}"/>
          </ac:graphicFrameMkLst>
        </pc:graphicFrameChg>
        <pc:graphicFrameChg chg="add mod modGraphic">
          <ac:chgData name="Nishi, Kentaro" userId="99f4c19a-673e-4fa1-a403-bcbf0c906067" providerId="ADAL" clId="{E0005CC5-CBA3-4F87-8931-9D107790B2E3}" dt="2023-05-30T09:38:49.871" v="1308" actId="207"/>
          <ac:graphicFrameMkLst>
            <pc:docMk/>
            <pc:sldMk cId="2657891735" sldId="2147376607"/>
            <ac:graphicFrameMk id="31" creationId="{EDD50A86-7C1C-4B04-AE7F-1A9F1DF23F35}"/>
          </ac:graphicFrameMkLst>
        </pc:graphicFrameChg>
        <pc:graphicFrameChg chg="add del mod">
          <ac:chgData name="Nishi, Kentaro" userId="99f4c19a-673e-4fa1-a403-bcbf0c906067" providerId="ADAL" clId="{E0005CC5-CBA3-4F87-8931-9D107790B2E3}" dt="2023-05-30T09:35:13.415" v="1225" actId="478"/>
          <ac:graphicFrameMkLst>
            <pc:docMk/>
            <pc:sldMk cId="2657891735" sldId="2147376607"/>
            <ac:graphicFrameMk id="32" creationId="{003F6DD0-3876-4BCF-B246-2A3D80A07084}"/>
          </ac:graphicFrameMkLst>
        </pc:graphicFrameChg>
        <pc:graphicFrameChg chg="add mod">
          <ac:chgData name="Nishi, Kentaro" userId="99f4c19a-673e-4fa1-a403-bcbf0c906067" providerId="ADAL" clId="{E0005CC5-CBA3-4F87-8931-9D107790B2E3}" dt="2023-05-30T09:37:54.651" v="1292" actId="571"/>
          <ac:graphicFrameMkLst>
            <pc:docMk/>
            <pc:sldMk cId="2657891735" sldId="2147376607"/>
            <ac:graphicFrameMk id="33" creationId="{FF007634-909E-49B6-99C5-A978FF97A020}"/>
          </ac:graphicFrameMkLst>
        </pc:graphicFrameChg>
        <pc:graphicFrameChg chg="add mod modGraphic">
          <ac:chgData name="Nishi, Kentaro" userId="99f4c19a-673e-4fa1-a403-bcbf0c906067" providerId="ADAL" clId="{E0005CC5-CBA3-4F87-8931-9D107790B2E3}" dt="2023-05-30T09:38:49.014" v="1306" actId="207"/>
          <ac:graphicFrameMkLst>
            <pc:docMk/>
            <pc:sldMk cId="2657891735" sldId="2147376607"/>
            <ac:graphicFrameMk id="34" creationId="{82157E3D-CAA6-4AAA-8555-6372FC3B2939}"/>
          </ac:graphicFrameMkLst>
        </pc:graphicFrameChg>
        <pc:graphicFrameChg chg="add mod modGraphic">
          <ac:chgData name="Nishi, Kentaro" userId="99f4c19a-673e-4fa1-a403-bcbf0c906067" providerId="ADAL" clId="{E0005CC5-CBA3-4F87-8931-9D107790B2E3}" dt="2023-05-30T09:38:48.715" v="1305" actId="207"/>
          <ac:graphicFrameMkLst>
            <pc:docMk/>
            <pc:sldMk cId="2657891735" sldId="2147376607"/>
            <ac:graphicFrameMk id="35" creationId="{C3EDBEC7-92C5-4069-B263-D24FFCB340D9}"/>
          </ac:graphicFrameMkLst>
        </pc:graphicFrameChg>
        <pc:graphicFrameChg chg="add mod modGraphic">
          <ac:chgData name="Nishi, Kentaro" userId="99f4c19a-673e-4fa1-a403-bcbf0c906067" providerId="ADAL" clId="{E0005CC5-CBA3-4F87-8931-9D107790B2E3}" dt="2023-05-30T09:38:49.356" v="1307" actId="207"/>
          <ac:graphicFrameMkLst>
            <pc:docMk/>
            <pc:sldMk cId="2657891735" sldId="2147376607"/>
            <ac:graphicFrameMk id="36" creationId="{19944987-8C4B-4C8C-A26E-FD4A685E5692}"/>
          </ac:graphicFrameMkLst>
        </pc:graphicFrameChg>
        <pc:cxnChg chg="mod">
          <ac:chgData name="Nishi, Kentaro" userId="99f4c19a-673e-4fa1-a403-bcbf0c906067" providerId="ADAL" clId="{E0005CC5-CBA3-4F87-8931-9D107790B2E3}" dt="2023-05-30T08:21:57.412" v="948" actId="1035"/>
          <ac:cxnSpMkLst>
            <pc:docMk/>
            <pc:sldMk cId="2657891735" sldId="2147376607"/>
            <ac:cxnSpMk id="25" creationId="{E8C70B7F-C34E-476F-9829-2D78701E02B6}"/>
          </ac:cxnSpMkLst>
        </pc:cxnChg>
      </pc:sldChg>
      <pc:sldChg chg="addSp modSp del mod">
        <pc:chgData name="Nishi, Kentaro" userId="99f4c19a-673e-4fa1-a403-bcbf0c906067" providerId="ADAL" clId="{E0005CC5-CBA3-4F87-8931-9D107790B2E3}" dt="2023-05-30T09:39:08.276" v="1320" actId="47"/>
        <pc:sldMkLst>
          <pc:docMk/>
          <pc:sldMk cId="2355929026" sldId="2147376608"/>
        </pc:sldMkLst>
        <pc:spChg chg="add mod">
          <ac:chgData name="Nishi, Kentaro" userId="99f4c19a-673e-4fa1-a403-bcbf0c906067" providerId="ADAL" clId="{E0005CC5-CBA3-4F87-8931-9D107790B2E3}" dt="2023-05-30T08:18:11.421" v="761" actId="571"/>
          <ac:spMkLst>
            <pc:docMk/>
            <pc:sldMk cId="2355929026" sldId="2147376608"/>
            <ac:spMk id="12" creationId="{36965795-EE2A-4160-9F6B-C062804B9337}"/>
          </ac:spMkLst>
        </pc:spChg>
        <pc:spChg chg="add mod">
          <ac:chgData name="Nishi, Kentaro" userId="99f4c19a-673e-4fa1-a403-bcbf0c906067" providerId="ADAL" clId="{E0005CC5-CBA3-4F87-8931-9D107790B2E3}" dt="2023-05-30T08:17:44.602" v="756" actId="571"/>
          <ac:spMkLst>
            <pc:docMk/>
            <pc:sldMk cId="2355929026" sldId="2147376608"/>
            <ac:spMk id="13" creationId="{35AEE965-075F-4EAC-989F-723DCFC8A23B}"/>
          </ac:spMkLst>
        </pc:spChg>
        <pc:spChg chg="add mod">
          <ac:chgData name="Nishi, Kentaro" userId="99f4c19a-673e-4fa1-a403-bcbf0c906067" providerId="ADAL" clId="{E0005CC5-CBA3-4F87-8931-9D107790B2E3}" dt="2023-05-30T08:17:44.602" v="756" actId="571"/>
          <ac:spMkLst>
            <pc:docMk/>
            <pc:sldMk cId="2355929026" sldId="2147376608"/>
            <ac:spMk id="14" creationId="{CB69C005-113E-431A-8310-3E673D5BD9DB}"/>
          </ac:spMkLst>
        </pc:spChg>
        <pc:spChg chg="add mod">
          <ac:chgData name="Nishi, Kentaro" userId="99f4c19a-673e-4fa1-a403-bcbf0c906067" providerId="ADAL" clId="{E0005CC5-CBA3-4F87-8931-9D107790B2E3}" dt="2023-05-30T08:18:11.201" v="760" actId="571"/>
          <ac:spMkLst>
            <pc:docMk/>
            <pc:sldMk cId="2355929026" sldId="2147376608"/>
            <ac:spMk id="15" creationId="{A5F97E46-1C67-451D-B519-CA09A8E04C60}"/>
          </ac:spMkLst>
        </pc:spChg>
        <pc:spChg chg="mod">
          <ac:chgData name="Nishi, Kentaro" userId="99f4c19a-673e-4fa1-a403-bcbf0c906067" providerId="ADAL" clId="{E0005CC5-CBA3-4F87-8931-9D107790B2E3}" dt="2023-05-30T08:18:12.076" v="764" actId="14100"/>
          <ac:spMkLst>
            <pc:docMk/>
            <pc:sldMk cId="2355929026" sldId="2147376608"/>
            <ac:spMk id="22" creationId="{7E424736-C581-4FE2-B644-E8F4902F00CF}"/>
          </ac:spMkLst>
        </pc:spChg>
      </pc:sldChg>
      <pc:sldChg chg="del">
        <pc:chgData name="Nishi, Kentaro" userId="99f4c19a-673e-4fa1-a403-bcbf0c906067" providerId="ADAL" clId="{E0005CC5-CBA3-4F87-8931-9D107790B2E3}" dt="2023-05-30T09:39:08.276" v="1320" actId="47"/>
        <pc:sldMkLst>
          <pc:docMk/>
          <pc:sldMk cId="827989469" sldId="2147376609"/>
        </pc:sldMkLst>
      </pc:sldChg>
      <pc:sldChg chg="del">
        <pc:chgData name="Nishi, Kentaro" userId="99f4c19a-673e-4fa1-a403-bcbf0c906067" providerId="ADAL" clId="{E0005CC5-CBA3-4F87-8931-9D107790B2E3}" dt="2023-05-30T09:39:08.276" v="1320" actId="47"/>
        <pc:sldMkLst>
          <pc:docMk/>
          <pc:sldMk cId="3627105424" sldId="2147376610"/>
        </pc:sldMkLst>
      </pc:sldChg>
      <pc:sldChg chg="del">
        <pc:chgData name="Nishi, Kentaro" userId="99f4c19a-673e-4fa1-a403-bcbf0c906067" providerId="ADAL" clId="{E0005CC5-CBA3-4F87-8931-9D107790B2E3}" dt="2023-05-30T09:39:08.276" v="1320" actId="47"/>
        <pc:sldMkLst>
          <pc:docMk/>
          <pc:sldMk cId="2436708289" sldId="2147376611"/>
        </pc:sldMkLst>
      </pc:sldChg>
      <pc:sldChg chg="add del">
        <pc:chgData name="Nishi, Kentaro" userId="99f4c19a-673e-4fa1-a403-bcbf0c906067" providerId="ADAL" clId="{E0005CC5-CBA3-4F87-8931-9D107790B2E3}" dt="2023-05-30T08:11:56.408" v="722" actId="47"/>
        <pc:sldMkLst>
          <pc:docMk/>
          <pc:sldMk cId="1305537022" sldId="2147376615"/>
        </pc:sldMkLst>
      </pc:sldChg>
      <pc:sldChg chg="add del">
        <pc:chgData name="Nishi, Kentaro" userId="99f4c19a-673e-4fa1-a403-bcbf0c906067" providerId="ADAL" clId="{E0005CC5-CBA3-4F87-8931-9D107790B2E3}" dt="2023-05-30T08:11:56.408" v="722" actId="47"/>
        <pc:sldMkLst>
          <pc:docMk/>
          <pc:sldMk cId="1103068479" sldId="2147376616"/>
        </pc:sldMkLst>
      </pc:sldChg>
      <pc:sldChg chg="add del">
        <pc:chgData name="Nishi, Kentaro" userId="99f4c19a-673e-4fa1-a403-bcbf0c906067" providerId="ADAL" clId="{E0005CC5-CBA3-4F87-8931-9D107790B2E3}" dt="2023-05-30T07:48:48.745" v="368" actId="47"/>
        <pc:sldMkLst>
          <pc:docMk/>
          <pc:sldMk cId="2866488865" sldId="2147376617"/>
        </pc:sldMkLst>
      </pc:sldChg>
    </pc:docChg>
  </pc:docChgLst>
  <pc:docChgLst>
    <pc:chgData name="Yagi, Riku" userId="092f3030-7069-45a1-8a72-8208e6901431" providerId="ADAL" clId="{1570B037-9B75-4691-9667-D9E0EAD924EB}"/>
    <pc:docChg chg="undo redo custSel addSld delSld modSld sldOrd modSection">
      <pc:chgData name="Yagi, Riku" userId="092f3030-7069-45a1-8a72-8208e6901431" providerId="ADAL" clId="{1570B037-9B75-4691-9667-D9E0EAD924EB}" dt="2023-04-27T15:35:54.493" v="525" actId="1592"/>
      <pc:docMkLst>
        <pc:docMk/>
      </pc:docMkLst>
      <pc:sldChg chg="addSp modSp mod">
        <pc:chgData name="Yagi, Riku" userId="092f3030-7069-45a1-8a72-8208e6901431" providerId="ADAL" clId="{1570B037-9B75-4691-9667-D9E0EAD924EB}" dt="2023-04-27T15:33:37.681" v="518" actId="20577"/>
        <pc:sldMkLst>
          <pc:docMk/>
          <pc:sldMk cId="3112048226" sldId="2147376544"/>
        </pc:sldMkLst>
        <pc:spChg chg="mod">
          <ac:chgData name="Yagi, Riku" userId="092f3030-7069-45a1-8a72-8208e6901431" providerId="ADAL" clId="{1570B037-9B75-4691-9667-D9E0EAD924EB}" dt="2023-04-27T04:15:14.989" v="32" actId="313"/>
          <ac:spMkLst>
            <pc:docMk/>
            <pc:sldMk cId="3112048226" sldId="2147376544"/>
            <ac:spMk id="2" creationId="{B888A98E-FAF8-40E9-B861-89D5ABF34966}"/>
          </ac:spMkLst>
        </pc:spChg>
        <pc:spChg chg="mod">
          <ac:chgData name="Yagi, Riku" userId="092f3030-7069-45a1-8a72-8208e6901431" providerId="ADAL" clId="{1570B037-9B75-4691-9667-D9E0EAD924EB}" dt="2023-04-27T15:07:06.763" v="180" actId="555"/>
          <ac:spMkLst>
            <pc:docMk/>
            <pc:sldMk cId="3112048226" sldId="2147376544"/>
            <ac:spMk id="23" creationId="{A1D5FDF9-9DA0-4F3A-A553-1CC77C647182}"/>
          </ac:spMkLst>
        </pc:spChg>
        <pc:spChg chg="add mod">
          <ac:chgData name="Yagi, Riku" userId="092f3030-7069-45a1-8a72-8208e6901431" providerId="ADAL" clId="{1570B037-9B75-4691-9667-D9E0EAD924EB}" dt="2023-04-27T15:07:06.763" v="180" actId="555"/>
          <ac:spMkLst>
            <pc:docMk/>
            <pc:sldMk cId="3112048226" sldId="2147376544"/>
            <ac:spMk id="24" creationId="{4975B185-E8ED-4740-8848-518F975F409C}"/>
          </ac:spMkLst>
        </pc:spChg>
        <pc:spChg chg="mod">
          <ac:chgData name="Yagi, Riku" userId="092f3030-7069-45a1-8a72-8208e6901431" providerId="ADAL" clId="{1570B037-9B75-4691-9667-D9E0EAD924EB}" dt="2023-04-27T15:33:37.681" v="518" actId="20577"/>
          <ac:spMkLst>
            <pc:docMk/>
            <pc:sldMk cId="3112048226" sldId="2147376544"/>
            <ac:spMk id="26" creationId="{A3220A8B-96B0-434F-8BC8-4D321C80687D}"/>
          </ac:spMkLst>
        </pc:spChg>
      </pc:sldChg>
      <pc:sldChg chg="modSp mod">
        <pc:chgData name="Yagi, Riku" userId="092f3030-7069-45a1-8a72-8208e6901431" providerId="ADAL" clId="{1570B037-9B75-4691-9667-D9E0EAD924EB}" dt="2023-04-27T04:16:02.677" v="61" actId="115"/>
        <pc:sldMkLst>
          <pc:docMk/>
          <pc:sldMk cId="1296855118" sldId="2147376547"/>
        </pc:sldMkLst>
        <pc:spChg chg="mod">
          <ac:chgData name="Yagi, Riku" userId="092f3030-7069-45a1-8a72-8208e6901431" providerId="ADAL" clId="{1570B037-9B75-4691-9667-D9E0EAD924EB}" dt="2023-04-27T04:16:02.677" v="61" actId="115"/>
          <ac:spMkLst>
            <pc:docMk/>
            <pc:sldMk cId="1296855118" sldId="2147376547"/>
            <ac:spMk id="8" creationId="{EF6218F6-959A-4559-B935-011209810466}"/>
          </ac:spMkLst>
        </pc:spChg>
      </pc:sldChg>
      <pc:sldChg chg="delCm">
        <pc:chgData name="Yagi, Riku" userId="092f3030-7069-45a1-8a72-8208e6901431" providerId="ADAL" clId="{1570B037-9B75-4691-9667-D9E0EAD924EB}" dt="2023-04-27T15:35:54.493" v="525" actId="1592"/>
        <pc:sldMkLst>
          <pc:docMk/>
          <pc:sldMk cId="3117319284" sldId="2147376551"/>
        </pc:sldMkLst>
      </pc:sldChg>
      <pc:sldChg chg="addSp delSp modSp mod">
        <pc:chgData name="Yagi, Riku" userId="092f3030-7069-45a1-8a72-8208e6901431" providerId="ADAL" clId="{1570B037-9B75-4691-9667-D9E0EAD924EB}" dt="2023-04-27T15:09:07.114" v="225"/>
        <pc:sldMkLst>
          <pc:docMk/>
          <pc:sldMk cId="4094569849" sldId="2147376567"/>
        </pc:sldMkLst>
        <pc:spChg chg="mod">
          <ac:chgData name="Yagi, Riku" userId="092f3030-7069-45a1-8a72-8208e6901431" providerId="ADAL" clId="{1570B037-9B75-4691-9667-D9E0EAD924EB}" dt="2023-04-27T04:15:04.024" v="23" actId="313"/>
          <ac:spMkLst>
            <pc:docMk/>
            <pc:sldMk cId="4094569849" sldId="2147376567"/>
            <ac:spMk id="2" creationId="{B888A98E-FAF8-40E9-B861-89D5ABF34966}"/>
          </ac:spMkLst>
        </pc:spChg>
        <pc:spChg chg="add del mod">
          <ac:chgData name="Yagi, Riku" userId="092f3030-7069-45a1-8a72-8208e6901431" providerId="ADAL" clId="{1570B037-9B75-4691-9667-D9E0EAD924EB}" dt="2023-04-27T15:07:47.308" v="195"/>
          <ac:spMkLst>
            <pc:docMk/>
            <pc:sldMk cId="4094569849" sldId="2147376567"/>
            <ac:spMk id="14" creationId="{CB4DD0FC-6866-4233-8930-535D411BDA92}"/>
          </ac:spMkLst>
        </pc:spChg>
        <pc:spChg chg="mod">
          <ac:chgData name="Yagi, Riku" userId="092f3030-7069-45a1-8a72-8208e6901431" providerId="ADAL" clId="{1570B037-9B75-4691-9667-D9E0EAD924EB}" dt="2023-04-27T15:09:07.114" v="225"/>
          <ac:spMkLst>
            <pc:docMk/>
            <pc:sldMk cId="4094569849" sldId="2147376567"/>
            <ac:spMk id="15" creationId="{C583AC29-FFDA-47D4-AB54-DDA276DB9339}"/>
          </ac:spMkLst>
        </pc:spChg>
      </pc:sldChg>
      <pc:sldChg chg="modSp mod">
        <pc:chgData name="Yagi, Riku" userId="092f3030-7069-45a1-8a72-8208e6901431" providerId="ADAL" clId="{1570B037-9B75-4691-9667-D9E0EAD924EB}" dt="2023-04-27T04:15:11.670" v="29" actId="313"/>
        <pc:sldMkLst>
          <pc:docMk/>
          <pc:sldMk cId="1434538154" sldId="2147376571"/>
        </pc:sldMkLst>
        <pc:spChg chg="mod">
          <ac:chgData name="Yagi, Riku" userId="092f3030-7069-45a1-8a72-8208e6901431" providerId="ADAL" clId="{1570B037-9B75-4691-9667-D9E0EAD924EB}" dt="2023-04-27T04:15:11.670" v="29" actId="313"/>
          <ac:spMkLst>
            <pc:docMk/>
            <pc:sldMk cId="1434538154" sldId="2147376571"/>
            <ac:spMk id="2" creationId="{B888A98E-FAF8-40E9-B861-89D5ABF34966}"/>
          </ac:spMkLst>
        </pc:spChg>
      </pc:sldChg>
      <pc:sldChg chg="modSp mod">
        <pc:chgData name="Yagi, Riku" userId="092f3030-7069-45a1-8a72-8208e6901431" providerId="ADAL" clId="{1570B037-9B75-4691-9667-D9E0EAD924EB}" dt="2023-04-27T04:15:12.284" v="30" actId="313"/>
        <pc:sldMkLst>
          <pc:docMk/>
          <pc:sldMk cId="1888080531" sldId="2147376573"/>
        </pc:sldMkLst>
        <pc:spChg chg="mod">
          <ac:chgData name="Yagi, Riku" userId="092f3030-7069-45a1-8a72-8208e6901431" providerId="ADAL" clId="{1570B037-9B75-4691-9667-D9E0EAD924EB}" dt="2023-04-27T04:15:12.284" v="30" actId="313"/>
          <ac:spMkLst>
            <pc:docMk/>
            <pc:sldMk cId="1888080531" sldId="2147376573"/>
            <ac:spMk id="7" creationId="{6294726E-F57B-4C93-A426-39CA2C364E02}"/>
          </ac:spMkLst>
        </pc:spChg>
      </pc:sldChg>
      <pc:sldChg chg="modSp mod">
        <pc:chgData name="Yagi, Riku" userId="092f3030-7069-45a1-8a72-8208e6901431" providerId="ADAL" clId="{1570B037-9B75-4691-9667-D9E0EAD924EB}" dt="2023-04-27T04:16:46.114" v="62" actId="20577"/>
        <pc:sldMkLst>
          <pc:docMk/>
          <pc:sldMk cId="546843826" sldId="2147376574"/>
        </pc:sldMkLst>
        <pc:spChg chg="mod">
          <ac:chgData name="Yagi, Riku" userId="092f3030-7069-45a1-8a72-8208e6901431" providerId="ADAL" clId="{1570B037-9B75-4691-9667-D9E0EAD924EB}" dt="2023-04-27T04:16:46.114" v="62" actId="20577"/>
          <ac:spMkLst>
            <pc:docMk/>
            <pc:sldMk cId="546843826" sldId="2147376574"/>
            <ac:spMk id="4" creationId="{E4129DF1-64EB-4B4D-9154-059F71A09081}"/>
          </ac:spMkLst>
        </pc:spChg>
      </pc:sldChg>
      <pc:sldChg chg="modSp mod">
        <pc:chgData name="Yagi, Riku" userId="092f3030-7069-45a1-8a72-8208e6901431" providerId="ADAL" clId="{1570B037-9B75-4691-9667-D9E0EAD924EB}" dt="2023-04-27T04:15:04.577" v="24" actId="313"/>
        <pc:sldMkLst>
          <pc:docMk/>
          <pc:sldMk cId="2154837173" sldId="2147376577"/>
        </pc:sldMkLst>
        <pc:spChg chg="mod">
          <ac:chgData name="Yagi, Riku" userId="092f3030-7069-45a1-8a72-8208e6901431" providerId="ADAL" clId="{1570B037-9B75-4691-9667-D9E0EAD924EB}" dt="2023-04-27T04:15:04.577" v="24" actId="313"/>
          <ac:spMkLst>
            <pc:docMk/>
            <pc:sldMk cId="2154837173" sldId="2147376577"/>
            <ac:spMk id="2" creationId="{B888A98E-FAF8-40E9-B861-89D5ABF34966}"/>
          </ac:spMkLst>
        </pc:spChg>
      </pc:sldChg>
      <pc:sldChg chg="addSp modSp del mod">
        <pc:chgData name="Yagi, Riku" userId="092f3030-7069-45a1-8a72-8208e6901431" providerId="ADAL" clId="{1570B037-9B75-4691-9667-D9E0EAD924EB}" dt="2023-04-27T15:29:27.251" v="259" actId="47"/>
        <pc:sldMkLst>
          <pc:docMk/>
          <pc:sldMk cId="1427538256" sldId="2147376585"/>
        </pc:sldMkLst>
        <pc:spChg chg="mod">
          <ac:chgData name="Yagi, Riku" userId="092f3030-7069-45a1-8a72-8208e6901431" providerId="ADAL" clId="{1570B037-9B75-4691-9667-D9E0EAD924EB}" dt="2023-04-27T04:15:02.879" v="21" actId="313"/>
          <ac:spMkLst>
            <pc:docMk/>
            <pc:sldMk cId="1427538256" sldId="2147376585"/>
            <ac:spMk id="2" creationId="{B888A98E-FAF8-40E9-B861-89D5ABF34966}"/>
          </ac:spMkLst>
        </pc:spChg>
        <pc:spChg chg="add mod">
          <ac:chgData name="Yagi, Riku" userId="092f3030-7069-45a1-8a72-8208e6901431" providerId="ADAL" clId="{1570B037-9B75-4691-9667-D9E0EAD924EB}" dt="2023-04-27T15:07:32.465" v="192" actId="20577"/>
          <ac:spMkLst>
            <pc:docMk/>
            <pc:sldMk cId="1427538256" sldId="2147376585"/>
            <ac:spMk id="24" creationId="{FA425617-D9E9-412E-874E-C616A8609E18}"/>
          </ac:spMkLst>
        </pc:spChg>
        <pc:spChg chg="mod">
          <ac:chgData name="Yagi, Riku" userId="092f3030-7069-45a1-8a72-8208e6901431" providerId="ADAL" clId="{1570B037-9B75-4691-9667-D9E0EAD924EB}" dt="2023-04-27T15:26:37.407" v="240" actId="20577"/>
          <ac:spMkLst>
            <pc:docMk/>
            <pc:sldMk cId="1427538256" sldId="2147376585"/>
            <ac:spMk id="25" creationId="{2400B210-6FBB-4180-83F9-5F2B3028B279}"/>
          </ac:spMkLst>
        </pc:spChg>
      </pc:sldChg>
      <pc:sldChg chg="addSp modSp del mod">
        <pc:chgData name="Yagi, Riku" userId="092f3030-7069-45a1-8a72-8208e6901431" providerId="ADAL" clId="{1570B037-9B75-4691-9667-D9E0EAD924EB}" dt="2023-04-27T15:29:28.439" v="261" actId="47"/>
        <pc:sldMkLst>
          <pc:docMk/>
          <pc:sldMk cId="2472620270" sldId="2147376586"/>
        </pc:sldMkLst>
        <pc:spChg chg="mod">
          <ac:chgData name="Yagi, Riku" userId="092f3030-7069-45a1-8a72-8208e6901431" providerId="ADAL" clId="{1570B037-9B75-4691-9667-D9E0EAD924EB}" dt="2023-04-27T04:15:03.468" v="22" actId="313"/>
          <ac:spMkLst>
            <pc:docMk/>
            <pc:sldMk cId="2472620270" sldId="2147376586"/>
            <ac:spMk id="2" creationId="{B888A98E-FAF8-40E9-B861-89D5ABF34966}"/>
          </ac:spMkLst>
        </pc:spChg>
        <pc:spChg chg="add mod">
          <ac:chgData name="Yagi, Riku" userId="092f3030-7069-45a1-8a72-8208e6901431" providerId="ADAL" clId="{1570B037-9B75-4691-9667-D9E0EAD924EB}" dt="2023-04-27T15:07:42.498" v="193"/>
          <ac:spMkLst>
            <pc:docMk/>
            <pc:sldMk cId="2472620270" sldId="2147376586"/>
            <ac:spMk id="24" creationId="{4E7085B1-B92B-4F62-8ED6-1ADF1346B3F4}"/>
          </ac:spMkLst>
        </pc:spChg>
        <pc:spChg chg="mod">
          <ac:chgData name="Yagi, Riku" userId="092f3030-7069-45a1-8a72-8208e6901431" providerId="ADAL" clId="{1570B037-9B75-4691-9667-D9E0EAD924EB}" dt="2023-04-27T15:08:50.735" v="217" actId="20577"/>
          <ac:spMkLst>
            <pc:docMk/>
            <pc:sldMk cId="2472620270" sldId="2147376586"/>
            <ac:spMk id="25" creationId="{ED357DA2-996B-4542-9261-F61D30CC88A2}"/>
          </ac:spMkLst>
        </pc:spChg>
      </pc:sldChg>
      <pc:sldChg chg="modSp mod">
        <pc:chgData name="Yagi, Riku" userId="092f3030-7069-45a1-8a72-8208e6901431" providerId="ADAL" clId="{1570B037-9B75-4691-9667-D9E0EAD924EB}" dt="2023-04-27T04:15:05.542" v="25" actId="313"/>
        <pc:sldMkLst>
          <pc:docMk/>
          <pc:sldMk cId="1505456429" sldId="2147376591"/>
        </pc:sldMkLst>
        <pc:spChg chg="mod">
          <ac:chgData name="Yagi, Riku" userId="092f3030-7069-45a1-8a72-8208e6901431" providerId="ADAL" clId="{1570B037-9B75-4691-9667-D9E0EAD924EB}" dt="2023-04-27T04:15:05.542" v="25" actId="313"/>
          <ac:spMkLst>
            <pc:docMk/>
            <pc:sldMk cId="1505456429" sldId="2147376591"/>
            <ac:spMk id="2" creationId="{B888A98E-FAF8-40E9-B861-89D5ABF34966}"/>
          </ac:spMkLst>
        </pc:spChg>
      </pc:sldChg>
      <pc:sldChg chg="modSp mod">
        <pc:chgData name="Yagi, Riku" userId="092f3030-7069-45a1-8a72-8208e6901431" providerId="ADAL" clId="{1570B037-9B75-4691-9667-D9E0EAD924EB}" dt="2023-04-27T04:15:05.964" v="26" actId="313"/>
        <pc:sldMkLst>
          <pc:docMk/>
          <pc:sldMk cId="1450565050" sldId="2147376592"/>
        </pc:sldMkLst>
        <pc:spChg chg="mod">
          <ac:chgData name="Yagi, Riku" userId="092f3030-7069-45a1-8a72-8208e6901431" providerId="ADAL" clId="{1570B037-9B75-4691-9667-D9E0EAD924EB}" dt="2023-04-27T04:15:05.964" v="26" actId="313"/>
          <ac:spMkLst>
            <pc:docMk/>
            <pc:sldMk cId="1450565050" sldId="2147376592"/>
            <ac:spMk id="6" creationId="{5FACFAB0-FA3C-4DA7-A1B1-65368023FE24}"/>
          </ac:spMkLst>
        </pc:spChg>
      </pc:sldChg>
      <pc:sldChg chg="modSp mod">
        <pc:chgData name="Yagi, Riku" userId="092f3030-7069-45a1-8a72-8208e6901431" providerId="ADAL" clId="{1570B037-9B75-4691-9667-D9E0EAD924EB}" dt="2023-04-27T04:15:12.876" v="31" actId="313"/>
        <pc:sldMkLst>
          <pc:docMk/>
          <pc:sldMk cId="79892892" sldId="2147376593"/>
        </pc:sldMkLst>
        <pc:spChg chg="mod">
          <ac:chgData name="Yagi, Riku" userId="092f3030-7069-45a1-8a72-8208e6901431" providerId="ADAL" clId="{1570B037-9B75-4691-9667-D9E0EAD924EB}" dt="2023-04-27T04:15:12.876" v="31" actId="313"/>
          <ac:spMkLst>
            <pc:docMk/>
            <pc:sldMk cId="79892892" sldId="2147376593"/>
            <ac:spMk id="5" creationId="{A10E034D-B5CA-49E3-8C23-53F4880F08AA}"/>
          </ac:spMkLst>
        </pc:spChg>
      </pc:sldChg>
      <pc:sldChg chg="addSp modSp mod ord">
        <pc:chgData name="Yagi, Riku" userId="092f3030-7069-45a1-8a72-8208e6901431" providerId="ADAL" clId="{1570B037-9B75-4691-9667-D9E0EAD924EB}" dt="2023-04-27T15:31:22.402" v="388" actId="6549"/>
        <pc:sldMkLst>
          <pc:docMk/>
          <pc:sldMk cId="180363097" sldId="2147376596"/>
        </pc:sldMkLst>
        <pc:spChg chg="add mod">
          <ac:chgData name="Yagi, Riku" userId="092f3030-7069-45a1-8a72-8208e6901431" providerId="ADAL" clId="{1570B037-9B75-4691-9667-D9E0EAD924EB}" dt="2023-04-27T15:02:22.856" v="171" actId="1076"/>
          <ac:spMkLst>
            <pc:docMk/>
            <pc:sldMk cId="180363097" sldId="2147376596"/>
            <ac:spMk id="18" creationId="{017A9C7F-5AB1-48E5-948A-D5C2D43BAECA}"/>
          </ac:spMkLst>
        </pc:spChg>
        <pc:spChg chg="mod">
          <ac:chgData name="Yagi, Riku" userId="092f3030-7069-45a1-8a72-8208e6901431" providerId="ADAL" clId="{1570B037-9B75-4691-9667-D9E0EAD924EB}" dt="2023-04-27T15:31:22.402" v="388" actId="6549"/>
          <ac:spMkLst>
            <pc:docMk/>
            <pc:sldMk cId="180363097" sldId="2147376596"/>
            <ac:spMk id="26" creationId="{A3220A8B-96B0-434F-8BC8-4D321C80687D}"/>
          </ac:spMkLst>
        </pc:spChg>
      </pc:sldChg>
      <pc:sldChg chg="modSp add mod">
        <pc:chgData name="Yagi, Riku" userId="092f3030-7069-45a1-8a72-8208e6901431" providerId="ADAL" clId="{1570B037-9B75-4691-9667-D9E0EAD924EB}" dt="2023-04-27T15:31:34.872" v="389"/>
        <pc:sldMkLst>
          <pc:docMk/>
          <pc:sldMk cId="3341992262" sldId="2147376597"/>
        </pc:sldMkLst>
        <pc:spChg chg="mod">
          <ac:chgData name="Yagi, Riku" userId="092f3030-7069-45a1-8a72-8208e6901431" providerId="ADAL" clId="{1570B037-9B75-4691-9667-D9E0EAD924EB}" dt="2023-04-27T15:26:35.575" v="238" actId="1035"/>
          <ac:spMkLst>
            <pc:docMk/>
            <pc:sldMk cId="3341992262" sldId="2147376597"/>
            <ac:spMk id="18" creationId="{017A9C7F-5AB1-48E5-948A-D5C2D43BAECA}"/>
          </ac:spMkLst>
        </pc:spChg>
        <pc:spChg chg="mod">
          <ac:chgData name="Yagi, Riku" userId="092f3030-7069-45a1-8a72-8208e6901431" providerId="ADAL" clId="{1570B037-9B75-4691-9667-D9E0EAD924EB}" dt="2023-04-27T15:31:34.872" v="389"/>
          <ac:spMkLst>
            <pc:docMk/>
            <pc:sldMk cId="3341992262" sldId="2147376597"/>
            <ac:spMk id="26" creationId="{A3220A8B-96B0-434F-8BC8-4D321C80687D}"/>
          </ac:spMkLst>
        </pc:spChg>
      </pc:sldChg>
      <pc:sldChg chg="modSp add del mod">
        <pc:chgData name="Yagi, Riku" userId="092f3030-7069-45a1-8a72-8208e6901431" providerId="ADAL" clId="{1570B037-9B75-4691-9667-D9E0EAD924EB}" dt="2023-04-27T15:29:26.712" v="258" actId="47"/>
        <pc:sldMkLst>
          <pc:docMk/>
          <pc:sldMk cId="920756298" sldId="2147376598"/>
        </pc:sldMkLst>
        <pc:spChg chg="mod">
          <ac:chgData name="Yagi, Riku" userId="092f3030-7069-45a1-8a72-8208e6901431" providerId="ADAL" clId="{1570B037-9B75-4691-9667-D9E0EAD924EB}" dt="2023-04-27T15:07:17.153" v="185" actId="20577"/>
          <ac:spMkLst>
            <pc:docMk/>
            <pc:sldMk cId="920756298" sldId="2147376598"/>
            <ac:spMk id="24" creationId="{4975B185-E8ED-4740-8848-518F975F409C}"/>
          </ac:spMkLst>
        </pc:spChg>
        <pc:spChg chg="mod">
          <ac:chgData name="Yagi, Riku" userId="092f3030-7069-45a1-8a72-8208e6901431" providerId="ADAL" clId="{1570B037-9B75-4691-9667-D9E0EAD924EB}" dt="2023-04-27T15:09:36.622" v="230" actId="20577"/>
          <ac:spMkLst>
            <pc:docMk/>
            <pc:sldMk cId="920756298" sldId="2147376598"/>
            <ac:spMk id="26" creationId="{A3220A8B-96B0-434F-8BC8-4D321C80687D}"/>
          </ac:spMkLst>
        </pc:spChg>
      </pc:sldChg>
      <pc:sldChg chg="addSp delSp modSp add del mod">
        <pc:chgData name="Yagi, Riku" userId="092f3030-7069-45a1-8a72-8208e6901431" providerId="ADAL" clId="{1570B037-9B75-4691-9667-D9E0EAD924EB}" dt="2023-04-27T15:29:27.684" v="260" actId="47"/>
        <pc:sldMkLst>
          <pc:docMk/>
          <pc:sldMk cId="3156230688" sldId="2147376599"/>
        </pc:sldMkLst>
        <pc:spChg chg="add del mod">
          <ac:chgData name="Yagi, Riku" userId="092f3030-7069-45a1-8a72-8208e6901431" providerId="ADAL" clId="{1570B037-9B75-4691-9667-D9E0EAD924EB}" dt="2023-04-27T15:07:25.284" v="188"/>
          <ac:spMkLst>
            <pc:docMk/>
            <pc:sldMk cId="3156230688" sldId="2147376599"/>
            <ac:spMk id="24" creationId="{E347A4D6-A9E1-4901-8987-26DDA53FD7A9}"/>
          </ac:spMkLst>
        </pc:spChg>
        <pc:spChg chg="mod">
          <ac:chgData name="Yagi, Riku" userId="092f3030-7069-45a1-8a72-8208e6901431" providerId="ADAL" clId="{1570B037-9B75-4691-9667-D9E0EAD924EB}" dt="2023-04-27T15:08:44.878" v="214" actId="20577"/>
          <ac:spMkLst>
            <pc:docMk/>
            <pc:sldMk cId="3156230688" sldId="2147376599"/>
            <ac:spMk id="25" creationId="{2400B210-6FBB-4180-83F9-5F2B3028B279}"/>
          </ac:spMkLst>
        </pc:spChg>
        <pc:spChg chg="add mod">
          <ac:chgData name="Yagi, Riku" userId="092f3030-7069-45a1-8a72-8208e6901431" providerId="ADAL" clId="{1570B037-9B75-4691-9667-D9E0EAD924EB}" dt="2023-04-27T15:07:28.926" v="189"/>
          <ac:spMkLst>
            <pc:docMk/>
            <pc:sldMk cId="3156230688" sldId="2147376599"/>
            <ac:spMk id="27" creationId="{0541FB84-68B8-4118-853E-B2CA494480D8}"/>
          </ac:spMkLst>
        </pc:spChg>
      </pc:sldChg>
      <pc:sldChg chg="addSp delSp modSp add del mod">
        <pc:chgData name="Yagi, Riku" userId="092f3030-7069-45a1-8a72-8208e6901431" providerId="ADAL" clId="{1570B037-9B75-4691-9667-D9E0EAD924EB}" dt="2023-04-27T15:29:29.412" v="262" actId="47"/>
        <pc:sldMkLst>
          <pc:docMk/>
          <pc:sldMk cId="2197859162" sldId="2147376600"/>
        </pc:sldMkLst>
        <pc:spChg chg="del">
          <ac:chgData name="Yagi, Riku" userId="092f3030-7069-45a1-8a72-8208e6901431" providerId="ADAL" clId="{1570B037-9B75-4691-9667-D9E0EAD924EB}" dt="2023-04-27T15:07:51.972" v="197" actId="478"/>
          <ac:spMkLst>
            <pc:docMk/>
            <pc:sldMk cId="2197859162" sldId="2147376600"/>
            <ac:spMk id="24" creationId="{4E7085B1-B92B-4F62-8ED6-1ADF1346B3F4}"/>
          </ac:spMkLst>
        </pc:spChg>
        <pc:spChg chg="mod">
          <ac:chgData name="Yagi, Riku" userId="092f3030-7069-45a1-8a72-8208e6901431" providerId="ADAL" clId="{1570B037-9B75-4691-9667-D9E0EAD924EB}" dt="2023-04-27T15:08:56.395" v="220" actId="20577"/>
          <ac:spMkLst>
            <pc:docMk/>
            <pc:sldMk cId="2197859162" sldId="2147376600"/>
            <ac:spMk id="25" creationId="{ED357DA2-996B-4542-9261-F61D30CC88A2}"/>
          </ac:spMkLst>
        </pc:spChg>
        <pc:spChg chg="add mod">
          <ac:chgData name="Yagi, Riku" userId="092f3030-7069-45a1-8a72-8208e6901431" providerId="ADAL" clId="{1570B037-9B75-4691-9667-D9E0EAD924EB}" dt="2023-04-27T15:07:52.256" v="198"/>
          <ac:spMkLst>
            <pc:docMk/>
            <pc:sldMk cId="2197859162" sldId="2147376600"/>
            <ac:spMk id="27" creationId="{EB8EC016-2F35-4BA0-9FFC-016C1FFB5BF6}"/>
          </ac:spMkLst>
        </pc:spChg>
      </pc:sldChg>
      <pc:sldChg chg="modSp add del mod">
        <pc:chgData name="Yagi, Riku" userId="092f3030-7069-45a1-8a72-8208e6901431" providerId="ADAL" clId="{1570B037-9B75-4691-9667-D9E0EAD924EB}" dt="2023-04-27T15:29:23.231" v="257" actId="47"/>
        <pc:sldMkLst>
          <pc:docMk/>
          <pc:sldMk cId="579211367" sldId="2147376601"/>
        </pc:sldMkLst>
        <pc:spChg chg="mod">
          <ac:chgData name="Yagi, Riku" userId="092f3030-7069-45a1-8a72-8208e6901431" providerId="ADAL" clId="{1570B037-9B75-4691-9667-D9E0EAD924EB}" dt="2023-04-27T15:27:27.272" v="243" actId="1076"/>
          <ac:spMkLst>
            <pc:docMk/>
            <pc:sldMk cId="579211367" sldId="2147376601"/>
            <ac:spMk id="12" creationId="{6615A87E-A8CD-4B3E-8AD8-1C1EE095FB9A}"/>
          </ac:spMkLst>
        </pc:spChg>
        <pc:spChg chg="mod">
          <ac:chgData name="Yagi, Riku" userId="092f3030-7069-45a1-8a72-8208e6901431" providerId="ADAL" clId="{1570B037-9B75-4691-9667-D9E0EAD924EB}" dt="2023-04-27T15:27:27.272" v="243" actId="1076"/>
          <ac:spMkLst>
            <pc:docMk/>
            <pc:sldMk cId="579211367" sldId="2147376601"/>
            <ac:spMk id="13" creationId="{E46BB9D9-49D3-4F98-8CE2-149ACCCA6BBD}"/>
          </ac:spMkLst>
        </pc:spChg>
        <pc:spChg chg="mod">
          <ac:chgData name="Yagi, Riku" userId="092f3030-7069-45a1-8a72-8208e6901431" providerId="ADAL" clId="{1570B037-9B75-4691-9667-D9E0EAD924EB}" dt="2023-04-27T15:27:27.272" v="243" actId="1076"/>
          <ac:spMkLst>
            <pc:docMk/>
            <pc:sldMk cId="579211367" sldId="2147376601"/>
            <ac:spMk id="14" creationId="{AFD48EAC-7301-4348-BFA2-35D1B89A5205}"/>
          </ac:spMkLst>
        </pc:spChg>
        <pc:spChg chg="mod">
          <ac:chgData name="Yagi, Riku" userId="092f3030-7069-45a1-8a72-8208e6901431" providerId="ADAL" clId="{1570B037-9B75-4691-9667-D9E0EAD924EB}" dt="2023-04-27T15:27:27.272" v="243" actId="1076"/>
          <ac:spMkLst>
            <pc:docMk/>
            <pc:sldMk cId="579211367" sldId="2147376601"/>
            <ac:spMk id="17" creationId="{DEF1B152-D47B-4FC5-BFD1-F53D6F0BF529}"/>
          </ac:spMkLst>
        </pc:spChg>
        <pc:spChg chg="mod">
          <ac:chgData name="Yagi, Riku" userId="092f3030-7069-45a1-8a72-8208e6901431" providerId="ADAL" clId="{1570B037-9B75-4691-9667-D9E0EAD924EB}" dt="2023-04-27T15:27:27.272" v="243" actId="1076"/>
          <ac:spMkLst>
            <pc:docMk/>
            <pc:sldMk cId="579211367" sldId="2147376601"/>
            <ac:spMk id="20" creationId="{67DB4E5E-7E08-4430-AF16-544269D25EF8}"/>
          </ac:spMkLst>
        </pc:spChg>
        <pc:spChg chg="mod">
          <ac:chgData name="Yagi, Riku" userId="092f3030-7069-45a1-8a72-8208e6901431" providerId="ADAL" clId="{1570B037-9B75-4691-9667-D9E0EAD924EB}" dt="2023-04-27T15:28:00.481" v="247" actId="1035"/>
          <ac:spMkLst>
            <pc:docMk/>
            <pc:sldMk cId="579211367" sldId="2147376601"/>
            <ac:spMk id="25" creationId="{0983775F-3178-48A1-B4A9-7B532483CC3C}"/>
          </ac:spMkLst>
        </pc:spChg>
        <pc:spChg chg="mod">
          <ac:chgData name="Yagi, Riku" userId="092f3030-7069-45a1-8a72-8208e6901431" providerId="ADAL" clId="{1570B037-9B75-4691-9667-D9E0EAD924EB}" dt="2023-04-27T15:27:20.957" v="242"/>
          <ac:spMkLst>
            <pc:docMk/>
            <pc:sldMk cId="579211367" sldId="2147376601"/>
            <ac:spMk id="26" creationId="{A3220A8B-96B0-434F-8BC8-4D321C80687D}"/>
          </ac:spMkLst>
        </pc:spChg>
        <pc:spChg chg="mod">
          <ac:chgData name="Yagi, Riku" userId="092f3030-7069-45a1-8a72-8208e6901431" providerId="ADAL" clId="{1570B037-9B75-4691-9667-D9E0EAD924EB}" dt="2023-04-27T15:28:00.481" v="247" actId="1035"/>
          <ac:spMkLst>
            <pc:docMk/>
            <pc:sldMk cId="579211367" sldId="2147376601"/>
            <ac:spMk id="27" creationId="{23D4100F-9801-426B-A390-9A7BBF35D53F}"/>
          </ac:spMkLst>
        </pc:spChg>
        <pc:graphicFrameChg chg="mod">
          <ac:chgData name="Yagi, Riku" userId="092f3030-7069-45a1-8a72-8208e6901431" providerId="ADAL" clId="{1570B037-9B75-4691-9667-D9E0EAD924EB}" dt="2023-04-27T15:27:27.272" v="243" actId="1076"/>
          <ac:graphicFrameMkLst>
            <pc:docMk/>
            <pc:sldMk cId="579211367" sldId="2147376601"/>
            <ac:graphicFrameMk id="9" creationId="{D1AE6EC8-8DAC-4CAC-A4FA-CB3984753D44}"/>
          </ac:graphicFrameMkLst>
        </pc:graphicFrameChg>
        <pc:graphicFrameChg chg="mod">
          <ac:chgData name="Yagi, Riku" userId="092f3030-7069-45a1-8a72-8208e6901431" providerId="ADAL" clId="{1570B037-9B75-4691-9667-D9E0EAD924EB}" dt="2023-04-27T15:27:27.272" v="243" actId="1076"/>
          <ac:graphicFrameMkLst>
            <pc:docMk/>
            <pc:sldMk cId="579211367" sldId="2147376601"/>
            <ac:graphicFrameMk id="10" creationId="{F87B2612-1782-444C-A90A-0526AF785A04}"/>
          </ac:graphicFrameMkLst>
        </pc:graphicFrameChg>
        <pc:graphicFrameChg chg="mod">
          <ac:chgData name="Yagi, Riku" userId="092f3030-7069-45a1-8a72-8208e6901431" providerId="ADAL" clId="{1570B037-9B75-4691-9667-D9E0EAD924EB}" dt="2023-04-27T15:27:27.272" v="243" actId="1076"/>
          <ac:graphicFrameMkLst>
            <pc:docMk/>
            <pc:sldMk cId="579211367" sldId="2147376601"/>
            <ac:graphicFrameMk id="11" creationId="{AE93133D-B08C-418A-8D57-F814D54BAACF}"/>
          </ac:graphicFrameMkLst>
        </pc:graphicFrameChg>
        <pc:cxnChg chg="mod">
          <ac:chgData name="Yagi, Riku" userId="092f3030-7069-45a1-8a72-8208e6901431" providerId="ADAL" clId="{1570B037-9B75-4691-9667-D9E0EAD924EB}" dt="2023-04-27T15:27:27.272" v="243" actId="1076"/>
          <ac:cxnSpMkLst>
            <pc:docMk/>
            <pc:sldMk cId="579211367" sldId="2147376601"/>
            <ac:cxnSpMk id="21" creationId="{74FFBE4B-ACEE-46BA-970D-E0091FB96818}"/>
          </ac:cxnSpMkLst>
        </pc:cxnChg>
      </pc:sldChg>
      <pc:sldChg chg="delSp modSp add mod">
        <pc:chgData name="Yagi, Riku" userId="092f3030-7069-45a1-8a72-8208e6901431" providerId="ADAL" clId="{1570B037-9B75-4691-9667-D9E0EAD924EB}" dt="2023-04-27T15:33:44.289" v="519"/>
        <pc:sldMkLst>
          <pc:docMk/>
          <pc:sldMk cId="1706786740" sldId="2147376602"/>
        </pc:sldMkLst>
        <pc:spChg chg="mod">
          <ac:chgData name="Yagi, Riku" userId="092f3030-7069-45a1-8a72-8208e6901431" providerId="ADAL" clId="{1570B037-9B75-4691-9667-D9E0EAD924EB}" dt="2023-04-27T15:29:12.859" v="254" actId="1076"/>
          <ac:spMkLst>
            <pc:docMk/>
            <pc:sldMk cId="1706786740" sldId="2147376602"/>
            <ac:spMk id="12" creationId="{6615A87E-A8CD-4B3E-8AD8-1C1EE095FB9A}"/>
          </ac:spMkLst>
        </pc:spChg>
        <pc:spChg chg="mod">
          <ac:chgData name="Yagi, Riku" userId="092f3030-7069-45a1-8a72-8208e6901431" providerId="ADAL" clId="{1570B037-9B75-4691-9667-D9E0EAD924EB}" dt="2023-04-27T15:29:12.859" v="254" actId="1076"/>
          <ac:spMkLst>
            <pc:docMk/>
            <pc:sldMk cId="1706786740" sldId="2147376602"/>
            <ac:spMk id="13" creationId="{E46BB9D9-49D3-4F98-8CE2-149ACCCA6BBD}"/>
          </ac:spMkLst>
        </pc:spChg>
        <pc:spChg chg="mod">
          <ac:chgData name="Yagi, Riku" userId="092f3030-7069-45a1-8a72-8208e6901431" providerId="ADAL" clId="{1570B037-9B75-4691-9667-D9E0EAD924EB}" dt="2023-04-27T15:29:12.859" v="254" actId="1076"/>
          <ac:spMkLst>
            <pc:docMk/>
            <pc:sldMk cId="1706786740" sldId="2147376602"/>
            <ac:spMk id="14" creationId="{AFD48EAC-7301-4348-BFA2-35D1B89A5205}"/>
          </ac:spMkLst>
        </pc:spChg>
        <pc:spChg chg="mod">
          <ac:chgData name="Yagi, Riku" userId="092f3030-7069-45a1-8a72-8208e6901431" providerId="ADAL" clId="{1570B037-9B75-4691-9667-D9E0EAD924EB}" dt="2023-04-27T15:29:12.859" v="254" actId="1076"/>
          <ac:spMkLst>
            <pc:docMk/>
            <pc:sldMk cId="1706786740" sldId="2147376602"/>
            <ac:spMk id="16" creationId="{FEFB3204-3214-4329-A500-6C8EE7D9D8EA}"/>
          </ac:spMkLst>
        </pc:spChg>
        <pc:spChg chg="mod">
          <ac:chgData name="Yagi, Riku" userId="092f3030-7069-45a1-8a72-8208e6901431" providerId="ADAL" clId="{1570B037-9B75-4691-9667-D9E0EAD924EB}" dt="2023-04-27T15:29:12.859" v="254" actId="1076"/>
          <ac:spMkLst>
            <pc:docMk/>
            <pc:sldMk cId="1706786740" sldId="2147376602"/>
            <ac:spMk id="17" creationId="{DEF1B152-D47B-4FC5-BFD1-F53D6F0BF529}"/>
          </ac:spMkLst>
        </pc:spChg>
        <pc:spChg chg="del">
          <ac:chgData name="Yagi, Riku" userId="092f3030-7069-45a1-8a72-8208e6901431" providerId="ADAL" clId="{1570B037-9B75-4691-9667-D9E0EAD924EB}" dt="2023-04-27T15:29:06.176" v="253" actId="478"/>
          <ac:spMkLst>
            <pc:docMk/>
            <pc:sldMk cId="1706786740" sldId="2147376602"/>
            <ac:spMk id="18" creationId="{6D1729BB-0EB1-4078-B6C7-36865C66E1B4}"/>
          </ac:spMkLst>
        </pc:spChg>
        <pc:spChg chg="mod">
          <ac:chgData name="Yagi, Riku" userId="092f3030-7069-45a1-8a72-8208e6901431" providerId="ADAL" clId="{1570B037-9B75-4691-9667-D9E0EAD924EB}" dt="2023-04-27T15:29:12.859" v="254" actId="1076"/>
          <ac:spMkLst>
            <pc:docMk/>
            <pc:sldMk cId="1706786740" sldId="2147376602"/>
            <ac:spMk id="20" creationId="{67DB4E5E-7E08-4430-AF16-544269D25EF8}"/>
          </ac:spMkLst>
        </pc:spChg>
        <pc:spChg chg="del">
          <ac:chgData name="Yagi, Riku" userId="092f3030-7069-45a1-8a72-8208e6901431" providerId="ADAL" clId="{1570B037-9B75-4691-9667-D9E0EAD924EB}" dt="2023-04-27T15:29:06.176" v="253" actId="478"/>
          <ac:spMkLst>
            <pc:docMk/>
            <pc:sldMk cId="1706786740" sldId="2147376602"/>
            <ac:spMk id="22" creationId="{7E424736-C581-4FE2-B644-E8F4902F00CF}"/>
          </ac:spMkLst>
        </pc:spChg>
        <pc:spChg chg="mod">
          <ac:chgData name="Yagi, Riku" userId="092f3030-7069-45a1-8a72-8208e6901431" providerId="ADAL" clId="{1570B037-9B75-4691-9667-D9E0EAD924EB}" dt="2023-04-27T15:29:16.314" v="256" actId="20577"/>
          <ac:spMkLst>
            <pc:docMk/>
            <pc:sldMk cId="1706786740" sldId="2147376602"/>
            <ac:spMk id="24" creationId="{4975B185-E8ED-4740-8848-518F975F409C}"/>
          </ac:spMkLst>
        </pc:spChg>
        <pc:spChg chg="mod">
          <ac:chgData name="Yagi, Riku" userId="092f3030-7069-45a1-8a72-8208e6901431" providerId="ADAL" clId="{1570B037-9B75-4691-9667-D9E0EAD924EB}" dt="2023-04-27T15:33:44.289" v="519"/>
          <ac:spMkLst>
            <pc:docMk/>
            <pc:sldMk cId="1706786740" sldId="2147376602"/>
            <ac:spMk id="26" creationId="{A3220A8B-96B0-434F-8BC8-4D321C80687D}"/>
          </ac:spMkLst>
        </pc:spChg>
        <pc:graphicFrameChg chg="mod">
          <ac:chgData name="Yagi, Riku" userId="092f3030-7069-45a1-8a72-8208e6901431" providerId="ADAL" clId="{1570B037-9B75-4691-9667-D9E0EAD924EB}" dt="2023-04-27T15:29:12.859" v="254" actId="1076"/>
          <ac:graphicFrameMkLst>
            <pc:docMk/>
            <pc:sldMk cId="1706786740" sldId="2147376602"/>
            <ac:graphicFrameMk id="9" creationId="{D1AE6EC8-8DAC-4CAC-A4FA-CB3984753D44}"/>
          </ac:graphicFrameMkLst>
        </pc:graphicFrameChg>
        <pc:graphicFrameChg chg="mod">
          <ac:chgData name="Yagi, Riku" userId="092f3030-7069-45a1-8a72-8208e6901431" providerId="ADAL" clId="{1570B037-9B75-4691-9667-D9E0EAD924EB}" dt="2023-04-27T15:29:12.859" v="254" actId="1076"/>
          <ac:graphicFrameMkLst>
            <pc:docMk/>
            <pc:sldMk cId="1706786740" sldId="2147376602"/>
            <ac:graphicFrameMk id="10" creationId="{F87B2612-1782-444C-A90A-0526AF785A04}"/>
          </ac:graphicFrameMkLst>
        </pc:graphicFrameChg>
        <pc:graphicFrameChg chg="mod">
          <ac:chgData name="Yagi, Riku" userId="092f3030-7069-45a1-8a72-8208e6901431" providerId="ADAL" clId="{1570B037-9B75-4691-9667-D9E0EAD924EB}" dt="2023-04-27T15:29:12.859" v="254" actId="1076"/>
          <ac:graphicFrameMkLst>
            <pc:docMk/>
            <pc:sldMk cId="1706786740" sldId="2147376602"/>
            <ac:graphicFrameMk id="11" creationId="{AE93133D-B08C-418A-8D57-F814D54BAACF}"/>
          </ac:graphicFrameMkLst>
        </pc:graphicFrameChg>
        <pc:graphicFrameChg chg="mod">
          <ac:chgData name="Yagi, Riku" userId="092f3030-7069-45a1-8a72-8208e6901431" providerId="ADAL" clId="{1570B037-9B75-4691-9667-D9E0EAD924EB}" dt="2023-04-27T15:29:12.859" v="254" actId="1076"/>
          <ac:graphicFrameMkLst>
            <pc:docMk/>
            <pc:sldMk cId="1706786740" sldId="2147376602"/>
            <ac:graphicFrameMk id="15" creationId="{E6811260-9C8A-4917-A11A-49684269BF7E}"/>
          </ac:graphicFrameMkLst>
        </pc:graphicFrameChg>
        <pc:cxnChg chg="del">
          <ac:chgData name="Yagi, Riku" userId="092f3030-7069-45a1-8a72-8208e6901431" providerId="ADAL" clId="{1570B037-9B75-4691-9667-D9E0EAD924EB}" dt="2023-04-27T15:29:06.176" v="253" actId="478"/>
          <ac:cxnSpMkLst>
            <pc:docMk/>
            <pc:sldMk cId="1706786740" sldId="2147376602"/>
            <ac:cxnSpMk id="19" creationId="{77CC8FD1-B29B-4261-9498-CE4394400580}"/>
          </ac:cxnSpMkLst>
        </pc:cxnChg>
        <pc:cxnChg chg="mod">
          <ac:chgData name="Yagi, Riku" userId="092f3030-7069-45a1-8a72-8208e6901431" providerId="ADAL" clId="{1570B037-9B75-4691-9667-D9E0EAD924EB}" dt="2023-04-27T15:29:12.859" v="254" actId="1076"/>
          <ac:cxnSpMkLst>
            <pc:docMk/>
            <pc:sldMk cId="1706786740" sldId="2147376602"/>
            <ac:cxnSpMk id="21" creationId="{74FFBE4B-ACEE-46BA-970D-E0091FB96818}"/>
          </ac:cxnSpMkLst>
        </pc:cxnChg>
      </pc:sldChg>
      <pc:sldChg chg="modSp add mod">
        <pc:chgData name="Yagi, Riku" userId="092f3030-7069-45a1-8a72-8208e6901431" providerId="ADAL" clId="{1570B037-9B75-4691-9667-D9E0EAD924EB}" dt="2023-04-27T15:33:46.677" v="520"/>
        <pc:sldMkLst>
          <pc:docMk/>
          <pc:sldMk cId="2003672325" sldId="2147376603"/>
        </pc:sldMkLst>
        <pc:spChg chg="mod">
          <ac:chgData name="Yagi, Riku" userId="092f3030-7069-45a1-8a72-8208e6901431" providerId="ADAL" clId="{1570B037-9B75-4691-9667-D9E0EAD924EB}" dt="2023-04-27T15:29:44.049" v="285" actId="20577"/>
          <ac:spMkLst>
            <pc:docMk/>
            <pc:sldMk cId="2003672325" sldId="2147376603"/>
            <ac:spMk id="23" creationId="{A1D5FDF9-9DA0-4F3A-A553-1CC77C647182}"/>
          </ac:spMkLst>
        </pc:spChg>
        <pc:spChg chg="mod">
          <ac:chgData name="Yagi, Riku" userId="092f3030-7069-45a1-8a72-8208e6901431" providerId="ADAL" clId="{1570B037-9B75-4691-9667-D9E0EAD924EB}" dt="2023-04-27T15:33:46.677" v="520"/>
          <ac:spMkLst>
            <pc:docMk/>
            <pc:sldMk cId="2003672325" sldId="2147376603"/>
            <ac:spMk id="26" creationId="{A3220A8B-96B0-434F-8BC8-4D321C80687D}"/>
          </ac:spMkLst>
        </pc:spChg>
      </pc:sldChg>
      <pc:sldChg chg="modSp add mod replId">
        <pc:chgData name="Yagi, Riku" userId="092f3030-7069-45a1-8a72-8208e6901431" providerId="ADAL" clId="{1570B037-9B75-4691-9667-D9E0EAD924EB}" dt="2023-04-27T15:33:49.815" v="521"/>
        <pc:sldMkLst>
          <pc:docMk/>
          <pc:sldMk cId="2963413309" sldId="2147376604"/>
        </pc:sldMkLst>
        <pc:spChg chg="mod">
          <ac:chgData name="Yagi, Riku" userId="092f3030-7069-45a1-8a72-8208e6901431" providerId="ADAL" clId="{1570B037-9B75-4691-9667-D9E0EAD924EB}" dt="2023-04-27T15:29:59.537" v="294" actId="20577"/>
          <ac:spMkLst>
            <pc:docMk/>
            <pc:sldMk cId="2963413309" sldId="2147376604"/>
            <ac:spMk id="23" creationId="{A1D5FDF9-9DA0-4F3A-A553-1CC77C647182}"/>
          </ac:spMkLst>
        </pc:spChg>
        <pc:spChg chg="mod">
          <ac:chgData name="Yagi, Riku" userId="092f3030-7069-45a1-8a72-8208e6901431" providerId="ADAL" clId="{1570B037-9B75-4691-9667-D9E0EAD924EB}" dt="2023-04-27T15:33:49.815" v="521"/>
          <ac:spMkLst>
            <pc:docMk/>
            <pc:sldMk cId="2963413309" sldId="2147376604"/>
            <ac:spMk id="26" creationId="{A3220A8B-96B0-434F-8BC8-4D321C80687D}"/>
          </ac:spMkLst>
        </pc:spChg>
      </pc:sldChg>
      <pc:sldChg chg="modSp add mod">
        <pc:chgData name="Yagi, Riku" userId="092f3030-7069-45a1-8a72-8208e6901431" providerId="ADAL" clId="{1570B037-9B75-4691-9667-D9E0EAD924EB}" dt="2023-04-27T15:33:52.924" v="522"/>
        <pc:sldMkLst>
          <pc:docMk/>
          <pc:sldMk cId="3108754821" sldId="2147376605"/>
        </pc:sldMkLst>
        <pc:spChg chg="mod">
          <ac:chgData name="Yagi, Riku" userId="092f3030-7069-45a1-8a72-8208e6901431" providerId="ADAL" clId="{1570B037-9B75-4691-9667-D9E0EAD924EB}" dt="2023-04-27T15:30:03.220" v="297" actId="20577"/>
          <ac:spMkLst>
            <pc:docMk/>
            <pc:sldMk cId="3108754821" sldId="2147376605"/>
            <ac:spMk id="23" creationId="{A1D5FDF9-9DA0-4F3A-A553-1CC77C647182}"/>
          </ac:spMkLst>
        </pc:spChg>
        <pc:spChg chg="mod">
          <ac:chgData name="Yagi, Riku" userId="092f3030-7069-45a1-8a72-8208e6901431" providerId="ADAL" clId="{1570B037-9B75-4691-9667-D9E0EAD924EB}" dt="2023-04-27T15:33:52.924" v="522"/>
          <ac:spMkLst>
            <pc:docMk/>
            <pc:sldMk cId="3108754821" sldId="2147376605"/>
            <ac:spMk id="26" creationId="{A3220A8B-96B0-434F-8BC8-4D321C80687D}"/>
          </ac:spMkLst>
        </pc:spChg>
      </pc:sldChg>
      <pc:sldChg chg="modSp add mod replId">
        <pc:chgData name="Yagi, Riku" userId="092f3030-7069-45a1-8a72-8208e6901431" providerId="ADAL" clId="{1570B037-9B75-4691-9667-D9E0EAD924EB}" dt="2023-04-27T15:33:55.919" v="523"/>
        <pc:sldMkLst>
          <pc:docMk/>
          <pc:sldMk cId="3048467450" sldId="2147376606"/>
        </pc:sldMkLst>
        <pc:spChg chg="mod">
          <ac:chgData name="Yagi, Riku" userId="092f3030-7069-45a1-8a72-8208e6901431" providerId="ADAL" clId="{1570B037-9B75-4691-9667-D9E0EAD924EB}" dt="2023-04-27T15:30:06.994" v="298"/>
          <ac:spMkLst>
            <pc:docMk/>
            <pc:sldMk cId="3048467450" sldId="2147376606"/>
            <ac:spMk id="23" creationId="{A1D5FDF9-9DA0-4F3A-A553-1CC77C647182}"/>
          </ac:spMkLst>
        </pc:spChg>
        <pc:spChg chg="mod">
          <ac:chgData name="Yagi, Riku" userId="092f3030-7069-45a1-8a72-8208e6901431" providerId="ADAL" clId="{1570B037-9B75-4691-9667-D9E0EAD924EB}" dt="2023-04-27T15:33:55.919" v="523"/>
          <ac:spMkLst>
            <pc:docMk/>
            <pc:sldMk cId="3048467450" sldId="2147376606"/>
            <ac:spMk id="26" creationId="{A3220A8B-96B0-434F-8BC8-4D321C80687D}"/>
          </ac:spMkLst>
        </pc:spChg>
      </pc:sldChg>
    </pc:docChg>
  </pc:docChgLst>
  <pc:docChgLst>
    <pc:chgData name="Yagi, Riku" userId="092f3030-7069-45a1-8a72-8208e6901431" providerId="ADAL" clId="{1E63DCF0-39FB-4332-A1C1-D3ED9A245FD9}"/>
    <pc:docChg chg="undo custSel modSld">
      <pc:chgData name="Yagi, Riku" userId="092f3030-7069-45a1-8a72-8208e6901431" providerId="ADAL" clId="{1E63DCF0-39FB-4332-A1C1-D3ED9A245FD9}" dt="2023-05-17T03:45:54.257" v="433"/>
      <pc:docMkLst>
        <pc:docMk/>
      </pc:docMkLst>
      <pc:sldChg chg="modSp mod">
        <pc:chgData name="Yagi, Riku" userId="092f3030-7069-45a1-8a72-8208e6901431" providerId="ADAL" clId="{1E63DCF0-39FB-4332-A1C1-D3ED9A245FD9}" dt="2023-05-17T02:17:25.586" v="396"/>
        <pc:sldMkLst>
          <pc:docMk/>
          <pc:sldMk cId="1902198402" sldId="2147376564"/>
        </pc:sldMkLst>
        <pc:spChg chg="mod">
          <ac:chgData name="Yagi, Riku" userId="092f3030-7069-45a1-8a72-8208e6901431" providerId="ADAL" clId="{1E63DCF0-39FB-4332-A1C1-D3ED9A245FD9}" dt="2023-05-17T02:17:25.586" v="396"/>
          <ac:spMkLst>
            <pc:docMk/>
            <pc:sldMk cId="1902198402" sldId="2147376564"/>
            <ac:spMk id="2" creationId="{B62456A1-A11B-4DC1-9722-1388FCF9A716}"/>
          </ac:spMkLst>
        </pc:spChg>
      </pc:sldChg>
      <pc:sldChg chg="modSp mod">
        <pc:chgData name="Yagi, Riku" userId="092f3030-7069-45a1-8a72-8208e6901431" providerId="ADAL" clId="{1E63DCF0-39FB-4332-A1C1-D3ED9A245FD9}" dt="2023-05-17T03:45:54.257" v="433"/>
        <pc:sldMkLst>
          <pc:docMk/>
          <pc:sldMk cId="4094569849" sldId="2147376567"/>
        </pc:sldMkLst>
        <pc:spChg chg="mod">
          <ac:chgData name="Yagi, Riku" userId="092f3030-7069-45a1-8a72-8208e6901431" providerId="ADAL" clId="{1E63DCF0-39FB-4332-A1C1-D3ED9A245FD9}" dt="2023-05-17T03:45:54.257" v="433"/>
          <ac:spMkLst>
            <pc:docMk/>
            <pc:sldMk cId="4094569849" sldId="2147376567"/>
            <ac:spMk id="15" creationId="{C583AC29-FFDA-47D4-AB54-DDA276DB9339}"/>
          </ac:spMkLst>
        </pc:spChg>
      </pc:sldChg>
      <pc:sldChg chg="modSp mod">
        <pc:chgData name="Yagi, Riku" userId="092f3030-7069-45a1-8a72-8208e6901431" providerId="ADAL" clId="{1E63DCF0-39FB-4332-A1C1-D3ED9A245FD9}" dt="2023-05-17T02:26:39.852" v="430" actId="20577"/>
        <pc:sldMkLst>
          <pc:docMk/>
          <pc:sldMk cId="546843826" sldId="2147376574"/>
        </pc:sldMkLst>
        <pc:spChg chg="mod">
          <ac:chgData name="Yagi, Riku" userId="092f3030-7069-45a1-8a72-8208e6901431" providerId="ADAL" clId="{1E63DCF0-39FB-4332-A1C1-D3ED9A245FD9}" dt="2023-05-17T02:26:39.852" v="430" actId="20577"/>
          <ac:spMkLst>
            <pc:docMk/>
            <pc:sldMk cId="546843826" sldId="2147376574"/>
            <ac:spMk id="10" creationId="{9B8EAA3B-AAA0-43AC-85AE-8198D7539DDA}"/>
          </ac:spMkLst>
        </pc:spChg>
      </pc:sldChg>
      <pc:sldChg chg="modSp mod">
        <pc:chgData name="Yagi, Riku" userId="092f3030-7069-45a1-8a72-8208e6901431" providerId="ADAL" clId="{1E63DCF0-39FB-4332-A1C1-D3ED9A245FD9}" dt="2023-05-17T01:13:16.598" v="297" actId="207"/>
        <pc:sldMkLst>
          <pc:docMk/>
          <pc:sldMk cId="3298366041" sldId="2147376582"/>
        </pc:sldMkLst>
        <pc:graphicFrameChg chg="mod modGraphic">
          <ac:chgData name="Yagi, Riku" userId="092f3030-7069-45a1-8a72-8208e6901431" providerId="ADAL" clId="{1E63DCF0-39FB-4332-A1C1-D3ED9A245FD9}" dt="2023-05-17T01:13:16.598" v="297" actId="207"/>
          <ac:graphicFrameMkLst>
            <pc:docMk/>
            <pc:sldMk cId="3298366041" sldId="2147376582"/>
            <ac:graphicFrameMk id="17" creationId="{0BEEA107-2F77-4386-9F42-4ACFA7228B71}"/>
          </ac:graphicFrameMkLst>
        </pc:graphicFrameChg>
      </pc:sldChg>
      <pc:sldChg chg="modSp mod">
        <pc:chgData name="Yagi, Riku" userId="092f3030-7069-45a1-8a72-8208e6901431" providerId="ADAL" clId="{1E63DCF0-39FB-4332-A1C1-D3ED9A245FD9}" dt="2023-05-17T01:16:07.772" v="372"/>
        <pc:sldMkLst>
          <pc:docMk/>
          <pc:sldMk cId="180363097" sldId="2147376596"/>
        </pc:sldMkLst>
        <pc:spChg chg="mod">
          <ac:chgData name="Yagi, Riku" userId="092f3030-7069-45a1-8a72-8208e6901431" providerId="ADAL" clId="{1E63DCF0-39FB-4332-A1C1-D3ED9A245FD9}" dt="2023-05-17T01:16:07.772" v="372"/>
          <ac:spMkLst>
            <pc:docMk/>
            <pc:sldMk cId="180363097" sldId="2147376596"/>
            <ac:spMk id="16" creationId="{FEFB3204-3214-4329-A500-6C8EE7D9D8EA}"/>
          </ac:spMkLst>
        </pc:spChg>
        <pc:spChg chg="mod">
          <ac:chgData name="Yagi, Riku" userId="092f3030-7069-45a1-8a72-8208e6901431" providerId="ADAL" clId="{1E63DCF0-39FB-4332-A1C1-D3ED9A245FD9}" dt="2023-05-17T01:01:01.439" v="168" actId="20577"/>
          <ac:spMkLst>
            <pc:docMk/>
            <pc:sldMk cId="180363097" sldId="2147376596"/>
            <ac:spMk id="26" creationId="{A3220A8B-96B0-434F-8BC8-4D321C80687D}"/>
          </ac:spMkLst>
        </pc:spChg>
        <pc:graphicFrameChg chg="modGraphic">
          <ac:chgData name="Yagi, Riku" userId="092f3030-7069-45a1-8a72-8208e6901431" providerId="ADAL" clId="{1E63DCF0-39FB-4332-A1C1-D3ED9A245FD9}" dt="2023-05-17T00:57:27.065" v="114" actId="20577"/>
          <ac:graphicFrameMkLst>
            <pc:docMk/>
            <pc:sldMk cId="180363097" sldId="2147376596"/>
            <ac:graphicFrameMk id="19" creationId="{10C6FE56-590D-448C-8389-E2F145DE34E5}"/>
          </ac:graphicFrameMkLst>
        </pc:graphicFrameChg>
        <pc:graphicFrameChg chg="modGraphic">
          <ac:chgData name="Yagi, Riku" userId="092f3030-7069-45a1-8a72-8208e6901431" providerId="ADAL" clId="{1E63DCF0-39FB-4332-A1C1-D3ED9A245FD9}" dt="2023-05-17T00:57:22.085" v="95" actId="20577"/>
          <ac:graphicFrameMkLst>
            <pc:docMk/>
            <pc:sldMk cId="180363097" sldId="2147376596"/>
            <ac:graphicFrameMk id="23" creationId="{EFA4CD1D-0F97-4861-9490-96727307B059}"/>
          </ac:graphicFrameMkLst>
        </pc:graphicFrameChg>
        <pc:graphicFrameChg chg="modGraphic">
          <ac:chgData name="Yagi, Riku" userId="092f3030-7069-45a1-8a72-8208e6901431" providerId="ADAL" clId="{1E63DCF0-39FB-4332-A1C1-D3ED9A245FD9}" dt="2023-05-17T00:57:32.716" v="133" actId="20577"/>
          <ac:graphicFrameMkLst>
            <pc:docMk/>
            <pc:sldMk cId="180363097" sldId="2147376596"/>
            <ac:graphicFrameMk id="24" creationId="{2EF39B4A-E501-4611-A44C-D84D20B4DD4D}"/>
          </ac:graphicFrameMkLst>
        </pc:graphicFrameChg>
      </pc:sldChg>
      <pc:sldChg chg="modSp mod">
        <pc:chgData name="Yagi, Riku" userId="092f3030-7069-45a1-8a72-8208e6901431" providerId="ADAL" clId="{1E63DCF0-39FB-4332-A1C1-D3ED9A245FD9}" dt="2023-05-17T01:15:54.339" v="369" actId="20577"/>
        <pc:sldMkLst>
          <pc:docMk/>
          <pc:sldMk cId="2657891735" sldId="2147376607"/>
        </pc:sldMkLst>
        <pc:spChg chg="mod">
          <ac:chgData name="Yagi, Riku" userId="092f3030-7069-45a1-8a72-8208e6901431" providerId="ADAL" clId="{1E63DCF0-39FB-4332-A1C1-D3ED9A245FD9}" dt="2023-05-17T01:15:54.339" v="369" actId="20577"/>
          <ac:spMkLst>
            <pc:docMk/>
            <pc:sldMk cId="2657891735" sldId="2147376607"/>
            <ac:spMk id="14" creationId="{74625B7A-FF01-4A8A-9B2B-A0C522C884E0}"/>
          </ac:spMkLst>
        </pc:spChg>
        <pc:graphicFrameChg chg="modGraphic">
          <ac:chgData name="Yagi, Riku" userId="092f3030-7069-45a1-8a72-8208e6901431" providerId="ADAL" clId="{1E63DCF0-39FB-4332-A1C1-D3ED9A245FD9}" dt="2023-05-17T00:58:23.601" v="142" actId="6549"/>
          <ac:graphicFrameMkLst>
            <pc:docMk/>
            <pc:sldMk cId="2657891735" sldId="2147376607"/>
            <ac:graphicFrameMk id="17" creationId="{402961C9-64DB-49BD-BBF6-5948E4ADC81F}"/>
          </ac:graphicFrameMkLst>
        </pc:graphicFrameChg>
        <pc:graphicFrameChg chg="modGraphic">
          <ac:chgData name="Yagi, Riku" userId="092f3030-7069-45a1-8a72-8208e6901431" providerId="ADAL" clId="{1E63DCF0-39FB-4332-A1C1-D3ED9A245FD9}" dt="2023-05-17T00:58:29.587" v="143" actId="6549"/>
          <ac:graphicFrameMkLst>
            <pc:docMk/>
            <pc:sldMk cId="2657891735" sldId="2147376607"/>
            <ac:graphicFrameMk id="20" creationId="{8CFAE8A5-4E96-40E0-A8B4-8FED013EA55B}"/>
          </ac:graphicFrameMkLst>
        </pc:graphicFrameChg>
        <pc:graphicFrameChg chg="modGraphic">
          <ac:chgData name="Yagi, Riku" userId="092f3030-7069-45a1-8a72-8208e6901431" providerId="ADAL" clId="{1E63DCF0-39FB-4332-A1C1-D3ED9A245FD9}" dt="2023-05-17T00:58:32.028" v="144" actId="6549"/>
          <ac:graphicFrameMkLst>
            <pc:docMk/>
            <pc:sldMk cId="2657891735" sldId="2147376607"/>
            <ac:graphicFrameMk id="21" creationId="{E1A605B4-FB98-49AD-B87C-493144A829B0}"/>
          </ac:graphicFrameMkLst>
        </pc:graphicFrameChg>
      </pc:sldChg>
      <pc:sldChg chg="modSp mod">
        <pc:chgData name="Yagi, Riku" userId="092f3030-7069-45a1-8a72-8208e6901431" providerId="ADAL" clId="{1E63DCF0-39FB-4332-A1C1-D3ED9A245FD9}" dt="2023-05-17T01:15:58.018" v="370"/>
        <pc:sldMkLst>
          <pc:docMk/>
          <pc:sldMk cId="827989469" sldId="2147376609"/>
        </pc:sldMkLst>
        <pc:spChg chg="mod">
          <ac:chgData name="Yagi, Riku" userId="092f3030-7069-45a1-8a72-8208e6901431" providerId="ADAL" clId="{1E63DCF0-39FB-4332-A1C1-D3ED9A245FD9}" dt="2023-05-17T01:15:58.018" v="370"/>
          <ac:spMkLst>
            <pc:docMk/>
            <pc:sldMk cId="827989469" sldId="2147376609"/>
            <ac:spMk id="14" creationId="{74625B7A-FF01-4A8A-9B2B-A0C522C884E0}"/>
          </ac:spMkLst>
        </pc:spChg>
        <pc:graphicFrameChg chg="modGraphic">
          <ac:chgData name="Yagi, Riku" userId="092f3030-7069-45a1-8a72-8208e6901431" providerId="ADAL" clId="{1E63DCF0-39FB-4332-A1C1-D3ED9A245FD9}" dt="2023-05-17T00:58:40.219" v="146" actId="6549"/>
          <ac:graphicFrameMkLst>
            <pc:docMk/>
            <pc:sldMk cId="827989469" sldId="2147376609"/>
            <ac:graphicFrameMk id="17" creationId="{402961C9-64DB-49BD-BBF6-5948E4ADC81F}"/>
          </ac:graphicFrameMkLst>
        </pc:graphicFrameChg>
        <pc:graphicFrameChg chg="modGraphic">
          <ac:chgData name="Yagi, Riku" userId="092f3030-7069-45a1-8a72-8208e6901431" providerId="ADAL" clId="{1E63DCF0-39FB-4332-A1C1-D3ED9A245FD9}" dt="2023-05-17T00:58:37.482" v="145" actId="6549"/>
          <ac:graphicFrameMkLst>
            <pc:docMk/>
            <pc:sldMk cId="827989469" sldId="2147376609"/>
            <ac:graphicFrameMk id="20" creationId="{8CFAE8A5-4E96-40E0-A8B4-8FED013EA55B}"/>
          </ac:graphicFrameMkLst>
        </pc:graphicFrameChg>
        <pc:graphicFrameChg chg="modGraphic">
          <ac:chgData name="Yagi, Riku" userId="092f3030-7069-45a1-8a72-8208e6901431" providerId="ADAL" clId="{1E63DCF0-39FB-4332-A1C1-D3ED9A245FD9}" dt="2023-05-17T00:58:42.990" v="147" actId="6549"/>
          <ac:graphicFrameMkLst>
            <pc:docMk/>
            <pc:sldMk cId="827989469" sldId="2147376609"/>
            <ac:graphicFrameMk id="21" creationId="{E1A605B4-FB98-49AD-B87C-493144A829B0}"/>
          </ac:graphicFrameMkLst>
        </pc:graphicFrameChg>
      </pc:sldChg>
      <pc:sldChg chg="modSp mod">
        <pc:chgData name="Yagi, Riku" userId="092f3030-7069-45a1-8a72-8208e6901431" providerId="ADAL" clId="{1E63DCF0-39FB-4332-A1C1-D3ED9A245FD9}" dt="2023-05-17T01:16:01.493" v="371"/>
        <pc:sldMkLst>
          <pc:docMk/>
          <pc:sldMk cId="2436708289" sldId="2147376611"/>
        </pc:sldMkLst>
        <pc:spChg chg="mod">
          <ac:chgData name="Yagi, Riku" userId="092f3030-7069-45a1-8a72-8208e6901431" providerId="ADAL" clId="{1E63DCF0-39FB-4332-A1C1-D3ED9A245FD9}" dt="2023-05-17T01:16:01.493" v="371"/>
          <ac:spMkLst>
            <pc:docMk/>
            <pc:sldMk cId="2436708289" sldId="2147376611"/>
            <ac:spMk id="14" creationId="{74625B7A-FF01-4A8A-9B2B-A0C522C884E0}"/>
          </ac:spMkLst>
        </pc:spChg>
        <pc:graphicFrameChg chg="modGraphic">
          <ac:chgData name="Yagi, Riku" userId="092f3030-7069-45a1-8a72-8208e6901431" providerId="ADAL" clId="{1E63DCF0-39FB-4332-A1C1-D3ED9A245FD9}" dt="2023-05-17T00:58:53.205" v="153" actId="6549"/>
          <ac:graphicFrameMkLst>
            <pc:docMk/>
            <pc:sldMk cId="2436708289" sldId="2147376611"/>
            <ac:graphicFrameMk id="17" creationId="{402961C9-64DB-49BD-BBF6-5948E4ADC81F}"/>
          </ac:graphicFrameMkLst>
        </pc:graphicFrameChg>
        <pc:graphicFrameChg chg="modGraphic">
          <ac:chgData name="Yagi, Riku" userId="092f3030-7069-45a1-8a72-8208e6901431" providerId="ADAL" clId="{1E63DCF0-39FB-4332-A1C1-D3ED9A245FD9}" dt="2023-05-17T00:58:50.914" v="152" actId="6549"/>
          <ac:graphicFrameMkLst>
            <pc:docMk/>
            <pc:sldMk cId="2436708289" sldId="2147376611"/>
            <ac:graphicFrameMk id="20" creationId="{8CFAE8A5-4E96-40E0-A8B4-8FED013EA55B}"/>
          </ac:graphicFrameMkLst>
        </pc:graphicFrameChg>
        <pc:graphicFrameChg chg="modGraphic">
          <ac:chgData name="Yagi, Riku" userId="092f3030-7069-45a1-8a72-8208e6901431" providerId="ADAL" clId="{1E63DCF0-39FB-4332-A1C1-D3ED9A245FD9}" dt="2023-05-17T00:58:55.446" v="154" actId="6549"/>
          <ac:graphicFrameMkLst>
            <pc:docMk/>
            <pc:sldMk cId="2436708289" sldId="2147376611"/>
            <ac:graphicFrameMk id="21" creationId="{E1A605B4-FB98-49AD-B87C-493144A829B0}"/>
          </ac:graphicFrameMkLst>
        </pc:graphicFrameChg>
      </pc:sldChg>
      <pc:sldChg chg="modSp mod">
        <pc:chgData name="Yagi, Riku" userId="092f3030-7069-45a1-8a72-8208e6901431" providerId="ADAL" clId="{1E63DCF0-39FB-4332-A1C1-D3ED9A245FD9}" dt="2023-05-17T02:17:35.664" v="418" actId="20577"/>
        <pc:sldMkLst>
          <pc:docMk/>
          <pc:sldMk cId="525663554" sldId="2147376612"/>
        </pc:sldMkLst>
        <pc:spChg chg="mod">
          <ac:chgData name="Yagi, Riku" userId="092f3030-7069-45a1-8a72-8208e6901431" providerId="ADAL" clId="{1E63DCF0-39FB-4332-A1C1-D3ED9A245FD9}" dt="2023-05-17T02:17:35.664" v="418" actId="20577"/>
          <ac:spMkLst>
            <pc:docMk/>
            <pc:sldMk cId="525663554" sldId="2147376612"/>
            <ac:spMk id="2" creationId="{B62456A1-A11B-4DC1-9722-1388FCF9A716}"/>
          </ac:spMkLst>
        </pc:spChg>
      </pc:sldChg>
      <pc:sldChg chg="modSp mod">
        <pc:chgData name="Yagi, Riku" userId="092f3030-7069-45a1-8a72-8208e6901431" providerId="ADAL" clId="{1E63DCF0-39FB-4332-A1C1-D3ED9A245FD9}" dt="2023-05-17T02:17:39.924" v="429" actId="20577"/>
        <pc:sldMkLst>
          <pc:docMk/>
          <pc:sldMk cId="2036497452" sldId="2147376613"/>
        </pc:sldMkLst>
        <pc:spChg chg="mod">
          <ac:chgData name="Yagi, Riku" userId="092f3030-7069-45a1-8a72-8208e6901431" providerId="ADAL" clId="{1E63DCF0-39FB-4332-A1C1-D3ED9A245FD9}" dt="2023-05-17T02:17:39.924" v="429" actId="20577"/>
          <ac:spMkLst>
            <pc:docMk/>
            <pc:sldMk cId="2036497452" sldId="2147376613"/>
            <ac:spMk id="2" creationId="{B62456A1-A11B-4DC1-9722-1388FCF9A716}"/>
          </ac:spMkLst>
        </pc:spChg>
      </pc:sldChg>
      <pc:sldChg chg="modSp mod">
        <pc:chgData name="Yagi, Riku" userId="092f3030-7069-45a1-8a72-8208e6901431" providerId="ADAL" clId="{1E63DCF0-39FB-4332-A1C1-D3ED9A245FD9}" dt="2023-05-17T02:17:30.273" v="407" actId="20577"/>
        <pc:sldMkLst>
          <pc:docMk/>
          <pc:sldMk cId="4119966295" sldId="2147376614"/>
        </pc:sldMkLst>
        <pc:spChg chg="mod">
          <ac:chgData name="Yagi, Riku" userId="092f3030-7069-45a1-8a72-8208e6901431" providerId="ADAL" clId="{1E63DCF0-39FB-4332-A1C1-D3ED9A245FD9}" dt="2023-05-17T02:17:30.273" v="407" actId="20577"/>
          <ac:spMkLst>
            <pc:docMk/>
            <pc:sldMk cId="4119966295" sldId="2147376614"/>
            <ac:spMk id="2" creationId="{B62456A1-A11B-4DC1-9722-1388FCF9A716}"/>
          </ac:spMkLst>
        </pc:spChg>
      </pc:sldChg>
    </pc:docChg>
  </pc:docChgLst>
  <pc:docChgLst>
    <pc:chgData name="Nishi, Kentaro" userId="99f4c19a-673e-4fa1-a403-bcbf0c906067" providerId="ADAL" clId="{A9BE1562-9089-4620-A0E0-60EF45BFE7CC}"/>
    <pc:docChg chg="custSel modSld">
      <pc:chgData name="Nishi, Kentaro" userId="99f4c19a-673e-4fa1-a403-bcbf0c906067" providerId="ADAL" clId="{A9BE1562-9089-4620-A0E0-60EF45BFE7CC}" dt="2023-06-30T00:24:26.479" v="16" actId="20577"/>
      <pc:docMkLst>
        <pc:docMk/>
      </pc:docMkLst>
      <pc:sldChg chg="delSp modSp mod">
        <pc:chgData name="Nishi, Kentaro" userId="99f4c19a-673e-4fa1-a403-bcbf0c906067" providerId="ADAL" clId="{A9BE1562-9089-4620-A0E0-60EF45BFE7CC}" dt="2023-06-30T00:23:16.563" v="5" actId="478"/>
        <pc:sldMkLst>
          <pc:docMk/>
          <pc:sldMk cId="3112048226" sldId="2147376544"/>
        </pc:sldMkLst>
        <pc:spChg chg="del mod">
          <ac:chgData name="Nishi, Kentaro" userId="99f4c19a-673e-4fa1-a403-bcbf0c906067" providerId="ADAL" clId="{A9BE1562-9089-4620-A0E0-60EF45BFE7CC}" dt="2023-06-30T00:23:16.563" v="5" actId="478"/>
          <ac:spMkLst>
            <pc:docMk/>
            <pc:sldMk cId="3112048226" sldId="2147376544"/>
            <ac:spMk id="39" creationId="{72B0BEFC-AF86-4298-A1BD-9484EAE9856F}"/>
          </ac:spMkLst>
        </pc:spChg>
      </pc:sldChg>
      <pc:sldChg chg="delSp modSp mod">
        <pc:chgData name="Nishi, Kentaro" userId="99f4c19a-673e-4fa1-a403-bcbf0c906067" providerId="ADAL" clId="{A9BE1562-9089-4620-A0E0-60EF45BFE7CC}" dt="2023-06-30T00:23:12.815" v="3" actId="478"/>
        <pc:sldMkLst>
          <pc:docMk/>
          <pc:sldMk cId="3266287845" sldId="2147376546"/>
        </pc:sldMkLst>
        <pc:spChg chg="del mod">
          <ac:chgData name="Nishi, Kentaro" userId="99f4c19a-673e-4fa1-a403-bcbf0c906067" providerId="ADAL" clId="{A9BE1562-9089-4620-A0E0-60EF45BFE7CC}" dt="2023-06-30T00:23:12.815" v="3" actId="478"/>
          <ac:spMkLst>
            <pc:docMk/>
            <pc:sldMk cId="3266287845" sldId="2147376546"/>
            <ac:spMk id="21" creationId="{2D094433-E9EE-4A09-B72E-CC62BFF466F5}"/>
          </ac:spMkLst>
        </pc:spChg>
      </pc:sldChg>
      <pc:sldChg chg="modSp mod">
        <pc:chgData name="Nishi, Kentaro" userId="99f4c19a-673e-4fa1-a403-bcbf0c906067" providerId="ADAL" clId="{A9BE1562-9089-4620-A0E0-60EF45BFE7CC}" dt="2023-06-30T00:24:26.479" v="16" actId="20577"/>
        <pc:sldMkLst>
          <pc:docMk/>
          <pc:sldMk cId="3117319284" sldId="2147376551"/>
        </pc:sldMkLst>
        <pc:spChg chg="mod">
          <ac:chgData name="Nishi, Kentaro" userId="99f4c19a-673e-4fa1-a403-bcbf0c906067" providerId="ADAL" clId="{A9BE1562-9089-4620-A0E0-60EF45BFE7CC}" dt="2023-06-30T00:24:26.479" v="16" actId="20577"/>
          <ac:spMkLst>
            <pc:docMk/>
            <pc:sldMk cId="3117319284" sldId="2147376551"/>
            <ac:spMk id="4" creationId="{6D770DF6-F588-40B0-808A-BF9058AD3D5C}"/>
          </ac:spMkLst>
        </pc:spChg>
      </pc:sldChg>
      <pc:sldChg chg="delSp modSp mod">
        <pc:chgData name="Nishi, Kentaro" userId="99f4c19a-673e-4fa1-a403-bcbf0c906067" providerId="ADAL" clId="{A9BE1562-9089-4620-A0E0-60EF45BFE7CC}" dt="2023-06-30T00:23:06.894" v="1" actId="478"/>
        <pc:sldMkLst>
          <pc:docMk/>
          <pc:sldMk cId="2453785476" sldId="2147376558"/>
        </pc:sldMkLst>
        <pc:spChg chg="del mod">
          <ac:chgData name="Nishi, Kentaro" userId="99f4c19a-673e-4fa1-a403-bcbf0c906067" providerId="ADAL" clId="{A9BE1562-9089-4620-A0E0-60EF45BFE7CC}" dt="2023-06-30T00:23:06.894" v="1" actId="478"/>
          <ac:spMkLst>
            <pc:docMk/>
            <pc:sldMk cId="2453785476" sldId="2147376558"/>
            <ac:spMk id="9" creationId="{6190401D-8CDA-4E42-B748-7580EECDD482}"/>
          </ac:spMkLst>
        </pc:spChg>
      </pc:sldChg>
      <pc:sldChg chg="delSp modSp mod">
        <pc:chgData name="Nishi, Kentaro" userId="99f4c19a-673e-4fa1-a403-bcbf0c906067" providerId="ADAL" clId="{A9BE1562-9089-4620-A0E0-60EF45BFE7CC}" dt="2023-06-30T00:23:24.565" v="11" actId="478"/>
        <pc:sldMkLst>
          <pc:docMk/>
          <pc:sldMk cId="1434538154" sldId="2147376571"/>
        </pc:sldMkLst>
        <pc:spChg chg="del mod">
          <ac:chgData name="Nishi, Kentaro" userId="99f4c19a-673e-4fa1-a403-bcbf0c906067" providerId="ADAL" clId="{A9BE1562-9089-4620-A0E0-60EF45BFE7CC}" dt="2023-06-30T00:23:24.565" v="11" actId="478"/>
          <ac:spMkLst>
            <pc:docMk/>
            <pc:sldMk cId="1434538154" sldId="2147376571"/>
            <ac:spMk id="15" creationId="{3385D01D-3091-460E-B252-73B89C0FAA89}"/>
          </ac:spMkLst>
        </pc:spChg>
      </pc:sldChg>
      <pc:sldChg chg="delSp modSp mod">
        <pc:chgData name="Nishi, Kentaro" userId="99f4c19a-673e-4fa1-a403-bcbf0c906067" providerId="ADAL" clId="{A9BE1562-9089-4620-A0E0-60EF45BFE7CC}" dt="2023-06-30T00:23:21.679" v="9" actId="478"/>
        <pc:sldMkLst>
          <pc:docMk/>
          <pc:sldMk cId="2154837173" sldId="2147376577"/>
        </pc:sldMkLst>
        <pc:spChg chg="del mod">
          <ac:chgData name="Nishi, Kentaro" userId="99f4c19a-673e-4fa1-a403-bcbf0c906067" providerId="ADAL" clId="{A9BE1562-9089-4620-A0E0-60EF45BFE7CC}" dt="2023-06-30T00:23:21.679" v="9" actId="478"/>
          <ac:spMkLst>
            <pc:docMk/>
            <pc:sldMk cId="2154837173" sldId="2147376577"/>
            <ac:spMk id="20" creationId="{958EE7AF-8C91-4B0C-9A03-D79D12DF4493}"/>
          </ac:spMkLst>
        </pc:spChg>
      </pc:sldChg>
      <pc:sldChg chg="delSp modSp mod">
        <pc:chgData name="Nishi, Kentaro" userId="99f4c19a-673e-4fa1-a403-bcbf0c906067" providerId="ADAL" clId="{A9BE1562-9089-4620-A0E0-60EF45BFE7CC}" dt="2023-06-30T00:23:18.707" v="7" actId="478"/>
        <pc:sldMkLst>
          <pc:docMk/>
          <pc:sldMk cId="2657891735" sldId="2147376607"/>
        </pc:sldMkLst>
        <pc:spChg chg="del mod">
          <ac:chgData name="Nishi, Kentaro" userId="99f4c19a-673e-4fa1-a403-bcbf0c906067" providerId="ADAL" clId="{A9BE1562-9089-4620-A0E0-60EF45BFE7CC}" dt="2023-06-30T00:23:18.707" v="7" actId="478"/>
          <ac:spMkLst>
            <pc:docMk/>
            <pc:sldMk cId="2657891735" sldId="2147376607"/>
            <ac:spMk id="19" creationId="{5C220D99-4AB5-46A7-A1B5-FC2A6F30C583}"/>
          </ac:spMkLst>
        </pc:spChg>
      </pc:sldChg>
    </pc:docChg>
  </pc:docChgLst>
  <pc:docChgLst>
    <pc:chgData name="Ohara, Soma" userId="d76eb5c4-ee4a-419d-b370-a96c169c57ce" providerId="ADAL" clId="{DDF74424-EA9D-420D-BD67-94FA4854F3FC}"/>
    <pc:docChg chg="undo custSel modSld replTag">
      <pc:chgData name="Ohara, Soma" userId="d76eb5c4-ee4a-419d-b370-a96c169c57ce" providerId="ADAL" clId="{DDF74424-EA9D-420D-BD67-94FA4854F3FC}" dt="2023-04-28T00:40:53.313" v="81" actId="478"/>
      <pc:docMkLst>
        <pc:docMk/>
      </pc:docMkLst>
      <pc:sldChg chg="modSp mod">
        <pc:chgData name="Ohara, Soma" userId="d76eb5c4-ee4a-419d-b370-a96c169c57ce" providerId="ADAL" clId="{DDF74424-EA9D-420D-BD67-94FA4854F3FC}" dt="2023-04-27T04:06:36.246" v="9"/>
        <pc:sldMkLst>
          <pc:docMk/>
          <pc:sldMk cId="1762000330" sldId="2147376542"/>
        </pc:sldMkLst>
        <pc:graphicFrameChg chg="mod">
          <ac:chgData name="Ohara, Soma" userId="d76eb5c4-ee4a-419d-b370-a96c169c57ce" providerId="ADAL" clId="{DDF74424-EA9D-420D-BD67-94FA4854F3FC}" dt="2023-04-27T04:06:36.246" v="9"/>
          <ac:graphicFrameMkLst>
            <pc:docMk/>
            <pc:sldMk cId="1762000330" sldId="2147376542"/>
            <ac:graphicFrameMk id="3" creationId="{89687BE7-544D-4F8F-A2D7-DF4131DC76CE}"/>
          </ac:graphicFrameMkLst>
        </pc:graphicFrameChg>
      </pc:sldChg>
      <pc:sldChg chg="modSp mod">
        <pc:chgData name="Ohara, Soma" userId="d76eb5c4-ee4a-419d-b370-a96c169c57ce" providerId="ADAL" clId="{DDF74424-EA9D-420D-BD67-94FA4854F3FC}" dt="2023-04-27T04:06:41.330" v="22"/>
        <pc:sldMkLst>
          <pc:docMk/>
          <pc:sldMk cId="3112048226" sldId="2147376544"/>
        </pc:sldMkLst>
        <pc:graphicFrameChg chg="mod">
          <ac:chgData name="Ohara, Soma" userId="d76eb5c4-ee4a-419d-b370-a96c169c57ce" providerId="ADAL" clId="{DDF74424-EA9D-420D-BD67-94FA4854F3FC}" dt="2023-04-27T04:06:41.330" v="22"/>
          <ac:graphicFrameMkLst>
            <pc:docMk/>
            <pc:sldMk cId="3112048226" sldId="2147376544"/>
            <ac:graphicFrameMk id="3" creationId="{9D83166C-023E-4ECE-ACA8-63FF6E64B847}"/>
          </ac:graphicFrameMkLst>
        </pc:graphicFrameChg>
      </pc:sldChg>
      <pc:sldChg chg="modSp mod">
        <pc:chgData name="Ohara, Soma" userId="d76eb5c4-ee4a-419d-b370-a96c169c57ce" providerId="ADAL" clId="{DDF74424-EA9D-420D-BD67-94FA4854F3FC}" dt="2023-04-27T04:06:38.359" v="15"/>
        <pc:sldMkLst>
          <pc:docMk/>
          <pc:sldMk cId="3266287845" sldId="2147376546"/>
        </pc:sldMkLst>
        <pc:graphicFrameChg chg="mod">
          <ac:chgData name="Ohara, Soma" userId="d76eb5c4-ee4a-419d-b370-a96c169c57ce" providerId="ADAL" clId="{DDF74424-EA9D-420D-BD67-94FA4854F3FC}" dt="2023-04-27T04:06:38.359" v="15"/>
          <ac:graphicFrameMkLst>
            <pc:docMk/>
            <pc:sldMk cId="3266287845" sldId="2147376546"/>
            <ac:graphicFrameMk id="3" creationId="{1F4102EA-8570-4C53-9D9B-51C8D95C0B0B}"/>
          </ac:graphicFrameMkLst>
        </pc:graphicFrameChg>
      </pc:sldChg>
      <pc:sldChg chg="modSp mod">
        <pc:chgData name="Ohara, Soma" userId="d76eb5c4-ee4a-419d-b370-a96c169c57ce" providerId="ADAL" clId="{DDF74424-EA9D-420D-BD67-94FA4854F3FC}" dt="2023-04-27T04:06:54.684" v="42"/>
        <pc:sldMkLst>
          <pc:docMk/>
          <pc:sldMk cId="1296855118" sldId="2147376547"/>
        </pc:sldMkLst>
        <pc:graphicFrameChg chg="mod">
          <ac:chgData name="Ohara, Soma" userId="d76eb5c4-ee4a-419d-b370-a96c169c57ce" providerId="ADAL" clId="{DDF74424-EA9D-420D-BD67-94FA4854F3FC}" dt="2023-04-27T04:06:54.684" v="42"/>
          <ac:graphicFrameMkLst>
            <pc:docMk/>
            <pc:sldMk cId="1296855118" sldId="2147376547"/>
            <ac:graphicFrameMk id="4" creationId="{5E325628-9791-4F27-8F28-E47E171E8CA4}"/>
          </ac:graphicFrameMkLst>
        </pc:graphicFrameChg>
      </pc:sldChg>
      <pc:sldChg chg="modSp mod">
        <pc:chgData name="Ohara, Soma" userId="d76eb5c4-ee4a-419d-b370-a96c169c57ce" providerId="ADAL" clId="{DDF74424-EA9D-420D-BD67-94FA4854F3FC}" dt="2023-04-27T04:06:36.817" v="12"/>
        <pc:sldMkLst>
          <pc:docMk/>
          <pc:sldMk cId="1662167398" sldId="2147376549"/>
        </pc:sldMkLst>
        <pc:graphicFrameChg chg="mod">
          <ac:chgData name="Ohara, Soma" userId="d76eb5c4-ee4a-419d-b370-a96c169c57ce" providerId="ADAL" clId="{DDF74424-EA9D-420D-BD67-94FA4854F3FC}" dt="2023-04-27T04:06:36.817" v="12"/>
          <ac:graphicFrameMkLst>
            <pc:docMk/>
            <pc:sldMk cId="1662167398" sldId="2147376549"/>
            <ac:graphicFrameMk id="11" creationId="{3DCE3113-1AFE-47F3-8988-D40381D11595}"/>
          </ac:graphicFrameMkLst>
        </pc:graphicFrameChg>
      </pc:sldChg>
      <pc:sldChg chg="modSp mod">
        <pc:chgData name="Ohara, Soma" userId="d76eb5c4-ee4a-419d-b370-a96c169c57ce" providerId="ADAL" clId="{DDF74424-EA9D-420D-BD67-94FA4854F3FC}" dt="2023-04-27T04:07:09.514" v="65"/>
        <pc:sldMkLst>
          <pc:docMk/>
          <pc:sldMk cId="3117319284" sldId="2147376551"/>
        </pc:sldMkLst>
        <pc:graphicFrameChg chg="mod">
          <ac:chgData name="Ohara, Soma" userId="d76eb5c4-ee4a-419d-b370-a96c169c57ce" providerId="ADAL" clId="{DDF74424-EA9D-420D-BD67-94FA4854F3FC}" dt="2023-04-27T04:07:09.514" v="65"/>
          <ac:graphicFrameMkLst>
            <pc:docMk/>
            <pc:sldMk cId="3117319284" sldId="2147376551"/>
            <ac:graphicFrameMk id="11" creationId="{3DCE3113-1AFE-47F3-8988-D40381D11595}"/>
          </ac:graphicFrameMkLst>
        </pc:graphicFrameChg>
      </pc:sldChg>
      <pc:sldChg chg="modSp mod">
        <pc:chgData name="Ohara, Soma" userId="d76eb5c4-ee4a-419d-b370-a96c169c57ce" providerId="ADAL" clId="{DDF74424-EA9D-420D-BD67-94FA4854F3FC}" dt="2023-04-27T04:06:31.376" v="2"/>
        <pc:sldMkLst>
          <pc:docMk/>
          <pc:sldMk cId="2453785476" sldId="2147376558"/>
        </pc:sldMkLst>
        <pc:graphicFrameChg chg="mod">
          <ac:chgData name="Ohara, Soma" userId="d76eb5c4-ee4a-419d-b370-a96c169c57ce" providerId="ADAL" clId="{DDF74424-EA9D-420D-BD67-94FA4854F3FC}" dt="2023-04-27T04:06:31.376" v="2"/>
          <ac:graphicFrameMkLst>
            <pc:docMk/>
            <pc:sldMk cId="2453785476" sldId="2147376558"/>
            <ac:graphicFrameMk id="32" creationId="{3769B28A-A5A7-4C63-BC36-68860CB8B45C}"/>
          </ac:graphicFrameMkLst>
        </pc:graphicFrameChg>
      </pc:sldChg>
      <pc:sldChg chg="modSp mod">
        <pc:chgData name="Ohara, Soma" userId="d76eb5c4-ee4a-419d-b370-a96c169c57ce" providerId="ADAL" clId="{DDF74424-EA9D-420D-BD67-94FA4854F3FC}" dt="2023-04-27T04:06:36.243" v="5"/>
        <pc:sldMkLst>
          <pc:docMk/>
          <pc:sldMk cId="622451436" sldId="2147376559"/>
        </pc:sldMkLst>
        <pc:graphicFrameChg chg="mod">
          <ac:chgData name="Ohara, Soma" userId="d76eb5c4-ee4a-419d-b370-a96c169c57ce" providerId="ADAL" clId="{DDF74424-EA9D-420D-BD67-94FA4854F3FC}" dt="2023-04-27T04:06:36.243" v="5"/>
          <ac:graphicFrameMkLst>
            <pc:docMk/>
            <pc:sldMk cId="622451436" sldId="2147376559"/>
            <ac:graphicFrameMk id="6" creationId="{75F8D44D-C6DD-4032-9A96-29B141F24A46}"/>
          </ac:graphicFrameMkLst>
        </pc:graphicFrameChg>
      </pc:sldChg>
      <pc:sldChg chg="modSp mod">
        <pc:chgData name="Ohara, Soma" userId="d76eb5c4-ee4a-419d-b370-a96c169c57ce" providerId="ADAL" clId="{DDF74424-EA9D-420D-BD67-94FA4854F3FC}" dt="2023-04-27T04:06:58.147" v="55"/>
        <pc:sldMkLst>
          <pc:docMk/>
          <pc:sldMk cId="3654010278" sldId="2147376560"/>
        </pc:sldMkLst>
        <pc:graphicFrameChg chg="mod">
          <ac:chgData name="Ohara, Soma" userId="d76eb5c4-ee4a-419d-b370-a96c169c57ce" providerId="ADAL" clId="{DDF74424-EA9D-420D-BD67-94FA4854F3FC}" dt="2023-04-27T04:06:58.147" v="55"/>
          <ac:graphicFrameMkLst>
            <pc:docMk/>
            <pc:sldMk cId="3654010278" sldId="2147376560"/>
            <ac:graphicFrameMk id="5" creationId="{81118480-AC99-4AF7-88E6-E4119C1454C0}"/>
          </ac:graphicFrameMkLst>
        </pc:graphicFrameChg>
      </pc:sldChg>
      <pc:sldChg chg="modSp mod">
        <pc:chgData name="Ohara, Soma" userId="d76eb5c4-ee4a-419d-b370-a96c169c57ce" providerId="ADAL" clId="{DDF74424-EA9D-420D-BD67-94FA4854F3FC}" dt="2023-04-27T04:06:58.148" v="57"/>
        <pc:sldMkLst>
          <pc:docMk/>
          <pc:sldMk cId="2446094646" sldId="2147376562"/>
        </pc:sldMkLst>
        <pc:graphicFrameChg chg="mod">
          <ac:chgData name="Ohara, Soma" userId="d76eb5c4-ee4a-419d-b370-a96c169c57ce" providerId="ADAL" clId="{DDF74424-EA9D-420D-BD67-94FA4854F3FC}" dt="2023-04-27T04:06:58.148" v="57"/>
          <ac:graphicFrameMkLst>
            <pc:docMk/>
            <pc:sldMk cId="2446094646" sldId="2147376562"/>
            <ac:graphicFrameMk id="5" creationId="{2F4B4BCC-449C-45C1-8DE1-4F70440F7D1E}"/>
          </ac:graphicFrameMkLst>
        </pc:graphicFrameChg>
      </pc:sldChg>
      <pc:sldChg chg="modSp mod">
        <pc:chgData name="Ohara, Soma" userId="d76eb5c4-ee4a-419d-b370-a96c169c57ce" providerId="ADAL" clId="{DDF74424-EA9D-420D-BD67-94FA4854F3FC}" dt="2023-04-27T04:07:04.495" v="60"/>
        <pc:sldMkLst>
          <pc:docMk/>
          <pc:sldMk cId="3100559194" sldId="2147376563"/>
        </pc:sldMkLst>
        <pc:graphicFrameChg chg="mod">
          <ac:chgData name="Ohara, Soma" userId="d76eb5c4-ee4a-419d-b370-a96c169c57ce" providerId="ADAL" clId="{DDF74424-EA9D-420D-BD67-94FA4854F3FC}" dt="2023-04-27T04:07:04.495" v="60"/>
          <ac:graphicFrameMkLst>
            <pc:docMk/>
            <pc:sldMk cId="3100559194" sldId="2147376563"/>
            <ac:graphicFrameMk id="45" creationId="{3654A7A2-0705-4052-A5A6-2A4BA3C6E54E}"/>
          </ac:graphicFrameMkLst>
        </pc:graphicFrameChg>
      </pc:sldChg>
      <pc:sldChg chg="modSp mod">
        <pc:chgData name="Ohara, Soma" userId="d76eb5c4-ee4a-419d-b370-a96c169c57ce" providerId="ADAL" clId="{DDF74424-EA9D-420D-BD67-94FA4854F3FC}" dt="2023-04-27T04:07:04.498" v="62"/>
        <pc:sldMkLst>
          <pc:docMk/>
          <pc:sldMk cId="1902198402" sldId="2147376564"/>
        </pc:sldMkLst>
        <pc:graphicFrameChg chg="mod">
          <ac:chgData name="Ohara, Soma" userId="d76eb5c4-ee4a-419d-b370-a96c169c57ce" providerId="ADAL" clId="{DDF74424-EA9D-420D-BD67-94FA4854F3FC}" dt="2023-04-27T04:07:04.498" v="62"/>
          <ac:graphicFrameMkLst>
            <pc:docMk/>
            <pc:sldMk cId="1902198402" sldId="2147376564"/>
            <ac:graphicFrameMk id="5" creationId="{0D44C70B-3A69-4A5D-96DB-A7EEA229A1D7}"/>
          </ac:graphicFrameMkLst>
        </pc:graphicFrameChg>
      </pc:sldChg>
      <pc:sldChg chg="modSp mod">
        <pc:chgData name="Ohara, Soma" userId="d76eb5c4-ee4a-419d-b370-a96c169c57ce" providerId="ADAL" clId="{DDF74424-EA9D-420D-BD67-94FA4854F3FC}" dt="2023-04-27T04:06:44.368" v="31"/>
        <pc:sldMkLst>
          <pc:docMk/>
          <pc:sldMk cId="4094569849" sldId="2147376567"/>
        </pc:sldMkLst>
        <pc:graphicFrameChg chg="mod">
          <ac:chgData name="Ohara, Soma" userId="d76eb5c4-ee4a-419d-b370-a96c169c57ce" providerId="ADAL" clId="{DDF74424-EA9D-420D-BD67-94FA4854F3FC}" dt="2023-04-27T04:06:44.368" v="31"/>
          <ac:graphicFrameMkLst>
            <pc:docMk/>
            <pc:sldMk cId="4094569849" sldId="2147376567"/>
            <ac:graphicFrameMk id="3" creationId="{9D83166C-023E-4ECE-ACA8-63FF6E64B847}"/>
          </ac:graphicFrameMkLst>
        </pc:graphicFrameChg>
      </pc:sldChg>
      <pc:sldChg chg="modSp mod">
        <pc:chgData name="Ohara, Soma" userId="d76eb5c4-ee4a-419d-b370-a96c169c57ce" providerId="ADAL" clId="{DDF74424-EA9D-420D-BD67-94FA4854F3FC}" dt="2023-04-27T04:06:38.361" v="17"/>
        <pc:sldMkLst>
          <pc:docMk/>
          <pc:sldMk cId="495821926" sldId="2147376569"/>
        </pc:sldMkLst>
        <pc:graphicFrameChg chg="mod">
          <ac:chgData name="Ohara, Soma" userId="d76eb5c4-ee4a-419d-b370-a96c169c57ce" providerId="ADAL" clId="{DDF74424-EA9D-420D-BD67-94FA4854F3FC}" dt="2023-04-27T04:06:38.361" v="17"/>
          <ac:graphicFrameMkLst>
            <pc:docMk/>
            <pc:sldMk cId="495821926" sldId="2147376569"/>
            <ac:graphicFrameMk id="3" creationId="{1F4102EA-8570-4C53-9D9B-51C8D95C0B0B}"/>
          </ac:graphicFrameMkLst>
        </pc:graphicFrameChg>
      </pc:sldChg>
      <pc:sldChg chg="modSp mod">
        <pc:chgData name="Ohara, Soma" userId="d76eb5c4-ee4a-419d-b370-a96c169c57ce" providerId="ADAL" clId="{DDF74424-EA9D-420D-BD67-94FA4854F3FC}" dt="2023-04-27T04:06:55.800" v="45"/>
        <pc:sldMkLst>
          <pc:docMk/>
          <pc:sldMk cId="1434538154" sldId="2147376571"/>
        </pc:sldMkLst>
        <pc:graphicFrameChg chg="mod">
          <ac:chgData name="Ohara, Soma" userId="d76eb5c4-ee4a-419d-b370-a96c169c57ce" providerId="ADAL" clId="{DDF74424-EA9D-420D-BD67-94FA4854F3FC}" dt="2023-04-27T04:06:55.800" v="45"/>
          <ac:graphicFrameMkLst>
            <pc:docMk/>
            <pc:sldMk cId="1434538154" sldId="2147376571"/>
            <ac:graphicFrameMk id="3" creationId="{AD6B6195-5AA0-495F-B3DB-E58F735DD21F}"/>
          </ac:graphicFrameMkLst>
        </pc:graphicFrameChg>
      </pc:sldChg>
      <pc:sldChg chg="modSp mod">
        <pc:chgData name="Ohara, Soma" userId="d76eb5c4-ee4a-419d-b370-a96c169c57ce" providerId="ADAL" clId="{DDF74424-EA9D-420D-BD67-94FA4854F3FC}" dt="2023-04-27T04:06:55.801" v="47"/>
        <pc:sldMkLst>
          <pc:docMk/>
          <pc:sldMk cId="1888080531" sldId="2147376573"/>
        </pc:sldMkLst>
        <pc:graphicFrameChg chg="mod">
          <ac:chgData name="Ohara, Soma" userId="d76eb5c4-ee4a-419d-b370-a96c169c57ce" providerId="ADAL" clId="{DDF74424-EA9D-420D-BD67-94FA4854F3FC}" dt="2023-04-27T04:06:55.801" v="47"/>
          <ac:graphicFrameMkLst>
            <pc:docMk/>
            <pc:sldMk cId="1888080531" sldId="2147376573"/>
            <ac:graphicFrameMk id="3" creationId="{AD6B6195-5AA0-495F-B3DB-E58F735DD21F}"/>
          </ac:graphicFrameMkLst>
        </pc:graphicFrameChg>
      </pc:sldChg>
      <pc:sldChg chg="modSp mod">
        <pc:chgData name="Ohara, Soma" userId="d76eb5c4-ee4a-419d-b370-a96c169c57ce" providerId="ADAL" clId="{DDF74424-EA9D-420D-BD67-94FA4854F3FC}" dt="2023-04-27T04:06:36.245" v="7"/>
        <pc:sldMkLst>
          <pc:docMk/>
          <pc:sldMk cId="546843826" sldId="2147376574"/>
        </pc:sldMkLst>
        <pc:graphicFrameChg chg="mod">
          <ac:chgData name="Ohara, Soma" userId="d76eb5c4-ee4a-419d-b370-a96c169c57ce" providerId="ADAL" clId="{DDF74424-EA9D-420D-BD67-94FA4854F3FC}" dt="2023-04-27T04:06:36.245" v="7"/>
          <ac:graphicFrameMkLst>
            <pc:docMk/>
            <pc:sldMk cId="546843826" sldId="2147376574"/>
            <ac:graphicFrameMk id="3" creationId="{89687BE7-544D-4F8F-A2D7-DF4131DC76CE}"/>
          </ac:graphicFrameMkLst>
        </pc:graphicFrameChg>
      </pc:sldChg>
      <pc:sldChg chg="modSp mod">
        <pc:chgData name="Ohara, Soma" userId="d76eb5c4-ee4a-419d-b370-a96c169c57ce" providerId="ADAL" clId="{DDF74424-EA9D-420D-BD67-94FA4854F3FC}" dt="2023-04-27T04:06:38.362" v="19"/>
        <pc:sldMkLst>
          <pc:docMk/>
          <pc:sldMk cId="820038137" sldId="2147376575"/>
        </pc:sldMkLst>
        <pc:graphicFrameChg chg="mod">
          <ac:chgData name="Ohara, Soma" userId="d76eb5c4-ee4a-419d-b370-a96c169c57ce" providerId="ADAL" clId="{DDF74424-EA9D-420D-BD67-94FA4854F3FC}" dt="2023-04-27T04:06:38.362" v="19"/>
          <ac:graphicFrameMkLst>
            <pc:docMk/>
            <pc:sldMk cId="820038137" sldId="2147376575"/>
            <ac:graphicFrameMk id="3" creationId="{1F4102EA-8570-4C53-9D9B-51C8D95C0B0B}"/>
          </ac:graphicFrameMkLst>
        </pc:graphicFrameChg>
      </pc:sldChg>
      <pc:sldChg chg="modSp mod">
        <pc:chgData name="Ohara, Soma" userId="d76eb5c4-ee4a-419d-b370-a96c169c57ce" providerId="ADAL" clId="{DDF74424-EA9D-420D-BD67-94FA4854F3FC}" dt="2023-04-27T04:06:44.369" v="33"/>
        <pc:sldMkLst>
          <pc:docMk/>
          <pc:sldMk cId="2154837173" sldId="2147376577"/>
        </pc:sldMkLst>
        <pc:graphicFrameChg chg="mod">
          <ac:chgData name="Ohara, Soma" userId="d76eb5c4-ee4a-419d-b370-a96c169c57ce" providerId="ADAL" clId="{DDF74424-EA9D-420D-BD67-94FA4854F3FC}" dt="2023-04-27T04:06:44.369" v="33"/>
          <ac:graphicFrameMkLst>
            <pc:docMk/>
            <pc:sldMk cId="2154837173" sldId="2147376577"/>
            <ac:graphicFrameMk id="3" creationId="{9D83166C-023E-4ECE-ACA8-63FF6E64B847}"/>
          </ac:graphicFrameMkLst>
        </pc:graphicFrameChg>
      </pc:sldChg>
      <pc:sldChg chg="modSp mod">
        <pc:chgData name="Ohara, Soma" userId="d76eb5c4-ee4a-419d-b370-a96c169c57ce" providerId="ADAL" clId="{DDF74424-EA9D-420D-BD67-94FA4854F3FC}" dt="2023-04-27T04:06:56.882" v="50"/>
        <pc:sldMkLst>
          <pc:docMk/>
          <pc:sldMk cId="3298366041" sldId="2147376582"/>
        </pc:sldMkLst>
        <pc:graphicFrameChg chg="mod">
          <ac:chgData name="Ohara, Soma" userId="d76eb5c4-ee4a-419d-b370-a96c169c57ce" providerId="ADAL" clId="{DDF74424-EA9D-420D-BD67-94FA4854F3FC}" dt="2023-04-27T04:06:56.882" v="50"/>
          <ac:graphicFrameMkLst>
            <pc:docMk/>
            <pc:sldMk cId="3298366041" sldId="2147376582"/>
            <ac:graphicFrameMk id="3" creationId="{AD6B6195-5AA0-495F-B3DB-E58F735DD21F}"/>
          </ac:graphicFrameMkLst>
        </pc:graphicFrameChg>
      </pc:sldChg>
      <pc:sldChg chg="modSp mod">
        <pc:chgData name="Ohara, Soma" userId="d76eb5c4-ee4a-419d-b370-a96c169c57ce" providerId="ADAL" clId="{DDF74424-EA9D-420D-BD67-94FA4854F3FC}" dt="2023-04-27T04:06:44.364" v="25"/>
        <pc:sldMkLst>
          <pc:docMk/>
          <pc:sldMk cId="1427538256" sldId="2147376585"/>
        </pc:sldMkLst>
        <pc:graphicFrameChg chg="mod">
          <ac:chgData name="Ohara, Soma" userId="d76eb5c4-ee4a-419d-b370-a96c169c57ce" providerId="ADAL" clId="{DDF74424-EA9D-420D-BD67-94FA4854F3FC}" dt="2023-04-27T04:06:44.364" v="25"/>
          <ac:graphicFrameMkLst>
            <pc:docMk/>
            <pc:sldMk cId="1427538256" sldId="2147376585"/>
            <ac:graphicFrameMk id="3" creationId="{9D83166C-023E-4ECE-ACA8-63FF6E64B847}"/>
          </ac:graphicFrameMkLst>
        </pc:graphicFrameChg>
      </pc:sldChg>
      <pc:sldChg chg="modSp mod">
        <pc:chgData name="Ohara, Soma" userId="d76eb5c4-ee4a-419d-b370-a96c169c57ce" providerId="ADAL" clId="{DDF74424-EA9D-420D-BD67-94FA4854F3FC}" dt="2023-04-27T04:06:44.367" v="29"/>
        <pc:sldMkLst>
          <pc:docMk/>
          <pc:sldMk cId="2472620270" sldId="2147376586"/>
        </pc:sldMkLst>
        <pc:graphicFrameChg chg="mod">
          <ac:chgData name="Ohara, Soma" userId="d76eb5c4-ee4a-419d-b370-a96c169c57ce" providerId="ADAL" clId="{DDF74424-EA9D-420D-BD67-94FA4854F3FC}" dt="2023-04-27T04:06:44.367" v="29"/>
          <ac:graphicFrameMkLst>
            <pc:docMk/>
            <pc:sldMk cId="2472620270" sldId="2147376586"/>
            <ac:graphicFrameMk id="3" creationId="{9D83166C-023E-4ECE-ACA8-63FF6E64B847}"/>
          </ac:graphicFrameMkLst>
        </pc:graphicFrameChg>
      </pc:sldChg>
      <pc:sldChg chg="modSp mod">
        <pc:chgData name="Ohara, Soma" userId="d76eb5c4-ee4a-419d-b370-a96c169c57ce" providerId="ADAL" clId="{DDF74424-EA9D-420D-BD67-94FA4854F3FC}" dt="2023-04-27T04:06:49.200" v="36"/>
        <pc:sldMkLst>
          <pc:docMk/>
          <pc:sldMk cId="1505456429" sldId="2147376591"/>
        </pc:sldMkLst>
        <pc:graphicFrameChg chg="mod">
          <ac:chgData name="Ohara, Soma" userId="d76eb5c4-ee4a-419d-b370-a96c169c57ce" providerId="ADAL" clId="{DDF74424-EA9D-420D-BD67-94FA4854F3FC}" dt="2023-04-27T04:06:49.200" v="36"/>
          <ac:graphicFrameMkLst>
            <pc:docMk/>
            <pc:sldMk cId="1505456429" sldId="2147376591"/>
            <ac:graphicFrameMk id="3" creationId="{9D83166C-023E-4ECE-ACA8-63FF6E64B847}"/>
          </ac:graphicFrameMkLst>
        </pc:graphicFrameChg>
      </pc:sldChg>
      <pc:sldChg chg="modSp mod">
        <pc:chgData name="Ohara, Soma" userId="d76eb5c4-ee4a-419d-b370-a96c169c57ce" providerId="ADAL" clId="{DDF74424-EA9D-420D-BD67-94FA4854F3FC}" dt="2023-04-27T04:06:49.926" v="39"/>
        <pc:sldMkLst>
          <pc:docMk/>
          <pc:sldMk cId="1450565050" sldId="2147376592"/>
        </pc:sldMkLst>
        <pc:graphicFrameChg chg="mod">
          <ac:chgData name="Ohara, Soma" userId="d76eb5c4-ee4a-419d-b370-a96c169c57ce" providerId="ADAL" clId="{DDF74424-EA9D-420D-BD67-94FA4854F3FC}" dt="2023-04-27T04:06:49.926" v="39"/>
          <ac:graphicFrameMkLst>
            <pc:docMk/>
            <pc:sldMk cId="1450565050" sldId="2147376592"/>
            <ac:graphicFrameMk id="3" creationId="{9D83166C-023E-4ECE-ACA8-63FF6E64B847}"/>
          </ac:graphicFrameMkLst>
        </pc:graphicFrameChg>
      </pc:sldChg>
      <pc:sldChg chg="modSp mod">
        <pc:chgData name="Ohara, Soma" userId="d76eb5c4-ee4a-419d-b370-a96c169c57ce" providerId="ADAL" clId="{DDF74424-EA9D-420D-BD67-94FA4854F3FC}" dt="2023-04-27T04:06:56.884" v="52"/>
        <pc:sldMkLst>
          <pc:docMk/>
          <pc:sldMk cId="79892892" sldId="2147376593"/>
        </pc:sldMkLst>
        <pc:graphicFrameChg chg="mod">
          <ac:chgData name="Ohara, Soma" userId="d76eb5c4-ee4a-419d-b370-a96c169c57ce" providerId="ADAL" clId="{DDF74424-EA9D-420D-BD67-94FA4854F3FC}" dt="2023-04-27T04:06:56.884" v="52"/>
          <ac:graphicFrameMkLst>
            <pc:docMk/>
            <pc:sldMk cId="79892892" sldId="2147376593"/>
            <ac:graphicFrameMk id="3" creationId="{AD6B6195-5AA0-495F-B3DB-E58F735DD21F}"/>
          </ac:graphicFrameMkLst>
        </pc:graphicFrameChg>
      </pc:sldChg>
      <pc:sldChg chg="modSp mod">
        <pc:chgData name="Ohara, Soma" userId="d76eb5c4-ee4a-419d-b370-a96c169c57ce" providerId="ADAL" clId="{DDF74424-EA9D-420D-BD67-94FA4854F3FC}" dt="2023-04-27T04:06:44.365" v="27"/>
        <pc:sldMkLst>
          <pc:docMk/>
          <pc:sldMk cId="180363097" sldId="2147376596"/>
        </pc:sldMkLst>
        <pc:graphicFrameChg chg="mod">
          <ac:chgData name="Ohara, Soma" userId="d76eb5c4-ee4a-419d-b370-a96c169c57ce" providerId="ADAL" clId="{DDF74424-EA9D-420D-BD67-94FA4854F3FC}" dt="2023-04-27T04:06:44.365" v="27"/>
          <ac:graphicFrameMkLst>
            <pc:docMk/>
            <pc:sldMk cId="180363097" sldId="2147376596"/>
            <ac:graphicFrameMk id="3" creationId="{9D83166C-023E-4ECE-ACA8-63FF6E64B847}"/>
          </ac:graphicFrameMkLst>
        </pc:graphicFrameChg>
      </pc:sldChg>
      <pc:sldChg chg="addSp delSp modSp mod">
        <pc:chgData name="Ohara, Soma" userId="d76eb5c4-ee4a-419d-b370-a96c169c57ce" providerId="ADAL" clId="{DDF74424-EA9D-420D-BD67-94FA4854F3FC}" dt="2023-04-28T00:40:53.313" v="81" actId="478"/>
        <pc:sldMkLst>
          <pc:docMk/>
          <pc:sldMk cId="3048467450" sldId="2147376606"/>
        </pc:sldMkLst>
        <pc:grpChg chg="del mod">
          <ac:chgData name="Ohara, Soma" userId="d76eb5c4-ee4a-419d-b370-a96c169c57ce" providerId="ADAL" clId="{DDF74424-EA9D-420D-BD67-94FA4854F3FC}" dt="2023-04-28T00:40:47.834" v="79" actId="478"/>
          <ac:grpSpMkLst>
            <pc:docMk/>
            <pc:sldMk cId="3048467450" sldId="2147376606"/>
            <ac:grpSpMk id="8" creationId="{7F68B4B3-E43D-44A0-9A59-2A6AEA0C993F}"/>
          </ac:grpSpMkLst>
        </pc:grpChg>
        <pc:grpChg chg="mod">
          <ac:chgData name="Ohara, Soma" userId="d76eb5c4-ee4a-419d-b370-a96c169c57ce" providerId="ADAL" clId="{DDF74424-EA9D-420D-BD67-94FA4854F3FC}" dt="2023-04-28T00:40:18.596" v="77"/>
          <ac:grpSpMkLst>
            <pc:docMk/>
            <pc:sldMk cId="3048467450" sldId="2147376606"/>
            <ac:grpSpMk id="30" creationId="{B2571C5B-049E-4838-A8E5-F9004139B20D}"/>
          </ac:grpSpMkLst>
        </pc:grpChg>
        <pc:grpChg chg="mod">
          <ac:chgData name="Ohara, Soma" userId="d76eb5c4-ee4a-419d-b370-a96c169c57ce" providerId="ADAL" clId="{DDF74424-EA9D-420D-BD67-94FA4854F3FC}" dt="2023-04-28T00:40:18.596" v="77"/>
          <ac:grpSpMkLst>
            <pc:docMk/>
            <pc:sldMk cId="3048467450" sldId="2147376606"/>
            <ac:grpSpMk id="31" creationId="{52B61332-C35E-4593-A6CF-42AE917D1083}"/>
          </ac:grpSpMkLst>
        </pc:grpChg>
        <pc:inkChg chg="add mod">
          <ac:chgData name="Ohara, Soma" userId="d76eb5c4-ee4a-419d-b370-a96c169c57ce" providerId="ADAL" clId="{DDF74424-EA9D-420D-BD67-94FA4854F3FC}" dt="2023-04-28T00:40:18.596" v="77"/>
          <ac:inkMkLst>
            <pc:docMk/>
            <pc:sldMk cId="3048467450" sldId="2147376606"/>
            <ac:inkMk id="4" creationId="{C68A7138-6D02-49A3-94DA-8770AB919860}"/>
          </ac:inkMkLst>
        </pc:inkChg>
        <pc:inkChg chg="add mod">
          <ac:chgData name="Ohara, Soma" userId="d76eb5c4-ee4a-419d-b370-a96c169c57ce" providerId="ADAL" clId="{DDF74424-EA9D-420D-BD67-94FA4854F3FC}" dt="2023-04-28T00:40:18.596" v="77"/>
          <ac:inkMkLst>
            <pc:docMk/>
            <pc:sldMk cId="3048467450" sldId="2147376606"/>
            <ac:inkMk id="6" creationId="{A1735EC2-7DCC-4301-B585-EFE3E5F19F4F}"/>
          </ac:inkMkLst>
        </pc:inkChg>
        <pc:inkChg chg="add mod">
          <ac:chgData name="Ohara, Soma" userId="d76eb5c4-ee4a-419d-b370-a96c169c57ce" providerId="ADAL" clId="{DDF74424-EA9D-420D-BD67-94FA4854F3FC}" dt="2023-04-28T00:40:18.596" v="77"/>
          <ac:inkMkLst>
            <pc:docMk/>
            <pc:sldMk cId="3048467450" sldId="2147376606"/>
            <ac:inkMk id="7" creationId="{C000BC40-5772-44C1-8D66-11EF74880BB4}"/>
          </ac:inkMkLst>
        </pc:inkChg>
        <pc:inkChg chg="add del mod">
          <ac:chgData name="Ohara, Soma" userId="d76eb5c4-ee4a-419d-b370-a96c169c57ce" providerId="ADAL" clId="{DDF74424-EA9D-420D-BD67-94FA4854F3FC}" dt="2023-04-28T00:40:47.834" v="79" actId="478"/>
          <ac:inkMkLst>
            <pc:docMk/>
            <pc:sldMk cId="3048467450" sldId="2147376606"/>
            <ac:inkMk id="18" creationId="{34877621-979B-48E4-984E-2B9F7DAE1D84}"/>
          </ac:inkMkLst>
        </pc:inkChg>
        <pc:inkChg chg="add del mod">
          <ac:chgData name="Ohara, Soma" userId="d76eb5c4-ee4a-419d-b370-a96c169c57ce" providerId="ADAL" clId="{DDF74424-EA9D-420D-BD67-94FA4854F3FC}" dt="2023-04-28T00:40:47.834" v="79" actId="478"/>
          <ac:inkMkLst>
            <pc:docMk/>
            <pc:sldMk cId="3048467450" sldId="2147376606"/>
            <ac:inkMk id="19" creationId="{01F39062-B3CC-4EFE-BFA9-BE9EAC7F61D3}"/>
          </ac:inkMkLst>
        </pc:inkChg>
        <pc:inkChg chg="add del">
          <ac:chgData name="Ohara, Soma" userId="d76eb5c4-ee4a-419d-b370-a96c169c57ce" providerId="ADAL" clId="{DDF74424-EA9D-420D-BD67-94FA4854F3FC}" dt="2023-04-28T00:40:53.313" v="81" actId="478"/>
          <ac:inkMkLst>
            <pc:docMk/>
            <pc:sldMk cId="3048467450" sldId="2147376606"/>
            <ac:inkMk id="22" creationId="{AF59A391-5512-483E-84F0-E86E882F5A38}"/>
          </ac:inkMkLst>
        </pc:inkChg>
        <pc:inkChg chg="add del mod">
          <ac:chgData name="Ohara, Soma" userId="d76eb5c4-ee4a-419d-b370-a96c169c57ce" providerId="ADAL" clId="{DDF74424-EA9D-420D-BD67-94FA4854F3FC}" dt="2023-04-28T00:40:50.258" v="80" actId="478"/>
          <ac:inkMkLst>
            <pc:docMk/>
            <pc:sldMk cId="3048467450" sldId="2147376606"/>
            <ac:inkMk id="25" creationId="{30EF7CEA-2D1B-4B08-93A6-044DDFEABE11}"/>
          </ac:inkMkLst>
        </pc:inkChg>
        <pc:inkChg chg="add del mod">
          <ac:chgData name="Ohara, Soma" userId="d76eb5c4-ee4a-419d-b370-a96c169c57ce" providerId="ADAL" clId="{DDF74424-EA9D-420D-BD67-94FA4854F3FC}" dt="2023-04-28T00:40:53.313" v="81" actId="478"/>
          <ac:inkMkLst>
            <pc:docMk/>
            <pc:sldMk cId="3048467450" sldId="2147376606"/>
            <ac:inkMk id="27" creationId="{57CB4B1A-A3E1-4AC6-A1D6-0A5049CC9168}"/>
          </ac:inkMkLst>
        </pc:inkChg>
        <pc:inkChg chg="add del mod">
          <ac:chgData name="Ohara, Soma" userId="d76eb5c4-ee4a-419d-b370-a96c169c57ce" providerId="ADAL" clId="{DDF74424-EA9D-420D-BD67-94FA4854F3FC}" dt="2023-04-28T00:40:53.313" v="81" actId="478"/>
          <ac:inkMkLst>
            <pc:docMk/>
            <pc:sldMk cId="3048467450" sldId="2147376606"/>
            <ac:inkMk id="28" creationId="{3C856B04-3CDF-4F76-AF28-51A877333E9F}"/>
          </ac:inkMkLst>
        </pc:inkChg>
        <pc:inkChg chg="add del mod">
          <ac:chgData name="Ohara, Soma" userId="d76eb5c4-ee4a-419d-b370-a96c169c57ce" providerId="ADAL" clId="{DDF74424-EA9D-420D-BD67-94FA4854F3FC}" dt="2023-04-28T00:40:41.724" v="78" actId="9405"/>
          <ac:inkMkLst>
            <pc:docMk/>
            <pc:sldMk cId="3048467450" sldId="2147376606"/>
            <ac:inkMk id="29" creationId="{D7ABF0A4-FAF1-4B6C-9C83-0289BFBE75FE}"/>
          </ac:inkMkLst>
        </pc:inkChg>
      </pc:sldChg>
    </pc:docChg>
  </pc:docChgLst>
  <pc:docChgLst>
    <pc:chgData name="Yagi, Riku" userId="092f3030-7069-45a1-8a72-8208e6901431" providerId="ADAL" clId="{D8B50771-5ECF-4861-9F61-22CE2B295862}"/>
    <pc:docChg chg="modSld">
      <pc:chgData name="Yagi, Riku" userId="092f3030-7069-45a1-8a72-8208e6901431" providerId="ADAL" clId="{D8B50771-5ECF-4861-9F61-22CE2B295862}" dt="2023-05-30T10:43:15.707" v="1" actId="552"/>
      <pc:docMkLst>
        <pc:docMk/>
      </pc:docMkLst>
      <pc:sldChg chg="modSp mod">
        <pc:chgData name="Yagi, Riku" userId="092f3030-7069-45a1-8a72-8208e6901431" providerId="ADAL" clId="{D8B50771-5ECF-4861-9F61-22CE2B295862}" dt="2023-05-30T10:43:15.707" v="1" actId="552"/>
        <pc:sldMkLst>
          <pc:docMk/>
          <pc:sldMk cId="3266287845" sldId="2147376546"/>
        </pc:sldMkLst>
        <pc:spChg chg="mod">
          <ac:chgData name="Yagi, Riku" userId="092f3030-7069-45a1-8a72-8208e6901431" providerId="ADAL" clId="{D8B50771-5ECF-4861-9F61-22CE2B295862}" dt="2023-05-30T10:43:12.645" v="0" actId="552"/>
          <ac:spMkLst>
            <pc:docMk/>
            <pc:sldMk cId="3266287845" sldId="2147376546"/>
            <ac:spMk id="6" creationId="{AAB0A226-BA4B-49AB-9DEF-CACD3E2E5D1F}"/>
          </ac:spMkLst>
        </pc:spChg>
        <pc:spChg chg="mod">
          <ac:chgData name="Yagi, Riku" userId="092f3030-7069-45a1-8a72-8208e6901431" providerId="ADAL" clId="{D8B50771-5ECF-4861-9F61-22CE2B295862}" dt="2023-05-30T10:43:15.707" v="1" actId="552"/>
          <ac:spMkLst>
            <pc:docMk/>
            <pc:sldMk cId="3266287845" sldId="2147376546"/>
            <ac:spMk id="24" creationId="{DB110D58-C6CC-4CBE-9C72-5A803BC667C6}"/>
          </ac:spMkLst>
        </pc:spChg>
        <pc:spChg chg="mod">
          <ac:chgData name="Yagi, Riku" userId="092f3030-7069-45a1-8a72-8208e6901431" providerId="ADAL" clId="{D8B50771-5ECF-4861-9F61-22CE2B295862}" dt="2023-05-30T10:43:15.707" v="1" actId="552"/>
          <ac:spMkLst>
            <pc:docMk/>
            <pc:sldMk cId="3266287845" sldId="2147376546"/>
            <ac:spMk id="25" creationId="{D256E27E-0527-4414-834D-46EF6F69F216}"/>
          </ac:spMkLst>
        </pc:spChg>
      </pc:sldChg>
    </pc:docChg>
  </pc:docChgLst>
  <pc:docChgLst>
    <pc:chgData name="Nishi, Kentaro" userId="99f4c19a-673e-4fa1-a403-bcbf0c906067" providerId="ADAL" clId="{91306296-C567-49E7-987D-F0AD35BF557F}"/>
    <pc:docChg chg="custSel modSld">
      <pc:chgData name="Nishi, Kentaro" userId="99f4c19a-673e-4fa1-a403-bcbf0c906067" providerId="ADAL" clId="{91306296-C567-49E7-987D-F0AD35BF557F}" dt="2023-05-25T09:16:22.975" v="113"/>
      <pc:docMkLst>
        <pc:docMk/>
      </pc:docMkLst>
      <pc:sldChg chg="addSp delSp modSp mod">
        <pc:chgData name="Nishi, Kentaro" userId="99f4c19a-673e-4fa1-a403-bcbf0c906067" providerId="ADAL" clId="{91306296-C567-49E7-987D-F0AD35BF557F}" dt="2023-05-25T09:11:23.810" v="77"/>
        <pc:sldMkLst>
          <pc:docMk/>
          <pc:sldMk cId="3112048226" sldId="2147376544"/>
        </pc:sldMkLst>
        <pc:spChg chg="add del mod">
          <ac:chgData name="Nishi, Kentaro" userId="99f4c19a-673e-4fa1-a403-bcbf0c906067" providerId="ADAL" clId="{91306296-C567-49E7-987D-F0AD35BF557F}" dt="2023-05-25T09:11:23.651" v="76" actId="478"/>
          <ac:spMkLst>
            <pc:docMk/>
            <pc:sldMk cId="3112048226" sldId="2147376544"/>
            <ac:spMk id="10" creationId="{D65D7C69-74B1-49EC-8AF8-E95CD2270DB0}"/>
          </ac:spMkLst>
        </pc:spChg>
        <pc:spChg chg="add mod">
          <ac:chgData name="Nishi, Kentaro" userId="99f4c19a-673e-4fa1-a403-bcbf0c906067" providerId="ADAL" clId="{91306296-C567-49E7-987D-F0AD35BF557F}" dt="2023-05-25T09:11:23.810" v="77"/>
          <ac:spMkLst>
            <pc:docMk/>
            <pc:sldMk cId="3112048226" sldId="2147376544"/>
            <ac:spMk id="11" creationId="{B20BE543-92C6-43BA-8DD2-D9CF85D5571C}"/>
          </ac:spMkLst>
        </pc:spChg>
      </pc:sldChg>
      <pc:sldChg chg="addSp delSp modSp mod">
        <pc:chgData name="Nishi, Kentaro" userId="99f4c19a-673e-4fa1-a403-bcbf0c906067" providerId="ADAL" clId="{91306296-C567-49E7-987D-F0AD35BF557F}" dt="2023-05-25T09:10:42.437" v="53"/>
        <pc:sldMkLst>
          <pc:docMk/>
          <pc:sldMk cId="3266287845" sldId="2147376546"/>
        </pc:sldMkLst>
        <pc:spChg chg="add del mod">
          <ac:chgData name="Nishi, Kentaro" userId="99f4c19a-673e-4fa1-a403-bcbf0c906067" providerId="ADAL" clId="{91306296-C567-49E7-987D-F0AD35BF557F}" dt="2023-05-25T09:10:41.886" v="52" actId="478"/>
          <ac:spMkLst>
            <pc:docMk/>
            <pc:sldMk cId="3266287845" sldId="2147376546"/>
            <ac:spMk id="20" creationId="{B6C9B7D3-9BBC-4025-8670-E2720670147A}"/>
          </ac:spMkLst>
        </pc:spChg>
        <pc:spChg chg="add mod">
          <ac:chgData name="Nishi, Kentaro" userId="99f4c19a-673e-4fa1-a403-bcbf0c906067" providerId="ADAL" clId="{91306296-C567-49E7-987D-F0AD35BF557F}" dt="2023-05-25T09:10:42.437" v="53"/>
          <ac:spMkLst>
            <pc:docMk/>
            <pc:sldMk cId="3266287845" sldId="2147376546"/>
            <ac:spMk id="21" creationId="{2D094433-E9EE-4A09-B72E-CC62BFF466F5}"/>
          </ac:spMkLst>
        </pc:spChg>
      </pc:sldChg>
      <pc:sldChg chg="addSp delSp modSp mod">
        <pc:chgData name="Nishi, Kentaro" userId="99f4c19a-673e-4fa1-a403-bcbf0c906067" providerId="ADAL" clId="{91306296-C567-49E7-987D-F0AD35BF557F}" dt="2023-05-25T09:10:32.755" v="51" actId="20577"/>
        <pc:sldMkLst>
          <pc:docMk/>
          <pc:sldMk cId="495821926" sldId="2147376569"/>
        </pc:sldMkLst>
        <pc:spChg chg="add del mod">
          <ac:chgData name="Nishi, Kentaro" userId="99f4c19a-673e-4fa1-a403-bcbf0c906067" providerId="ADAL" clId="{91306296-C567-49E7-987D-F0AD35BF557F}" dt="2023-05-25T01:55:12.623" v="29" actId="478"/>
          <ac:spMkLst>
            <pc:docMk/>
            <pc:sldMk cId="495821926" sldId="2147376569"/>
            <ac:spMk id="20" creationId="{AC10689E-3C50-4F90-8DDA-A77821DFD0B9}"/>
          </ac:spMkLst>
        </pc:spChg>
        <pc:spChg chg="add mod">
          <ac:chgData name="Nishi, Kentaro" userId="99f4c19a-673e-4fa1-a403-bcbf0c906067" providerId="ADAL" clId="{91306296-C567-49E7-987D-F0AD35BF557F}" dt="2023-05-25T09:10:32.755" v="51" actId="20577"/>
          <ac:spMkLst>
            <pc:docMk/>
            <pc:sldMk cId="495821926" sldId="2147376569"/>
            <ac:spMk id="21" creationId="{190FAE5A-8895-42B6-8CA6-61042CA56855}"/>
          </ac:spMkLst>
        </pc:spChg>
      </pc:sldChg>
      <pc:sldChg chg="addSp modSp mod">
        <pc:chgData name="Nishi, Kentaro" userId="99f4c19a-673e-4fa1-a403-bcbf0c906067" providerId="ADAL" clId="{91306296-C567-49E7-987D-F0AD35BF557F}" dt="2023-05-25T09:12:24.238" v="92" actId="20577"/>
        <pc:sldMkLst>
          <pc:docMk/>
          <pc:sldMk cId="1434538154" sldId="2147376571"/>
        </pc:sldMkLst>
        <pc:spChg chg="add mod">
          <ac:chgData name="Nishi, Kentaro" userId="99f4c19a-673e-4fa1-a403-bcbf0c906067" providerId="ADAL" clId="{91306296-C567-49E7-987D-F0AD35BF557F}" dt="2023-05-25T09:12:24.238" v="92" actId="20577"/>
          <ac:spMkLst>
            <pc:docMk/>
            <pc:sldMk cId="1434538154" sldId="2147376571"/>
            <ac:spMk id="15" creationId="{3385D01D-3091-460E-B252-73B89C0FAA89}"/>
          </ac:spMkLst>
        </pc:spChg>
      </pc:sldChg>
      <pc:sldChg chg="addSp delSp modSp mod">
        <pc:chgData name="Nishi, Kentaro" userId="99f4c19a-673e-4fa1-a403-bcbf0c906067" providerId="ADAL" clId="{91306296-C567-49E7-987D-F0AD35BF557F}" dt="2023-05-25T09:14:46.951" v="110"/>
        <pc:sldMkLst>
          <pc:docMk/>
          <pc:sldMk cId="1888080531" sldId="2147376573"/>
        </pc:sldMkLst>
        <pc:spChg chg="add del mod">
          <ac:chgData name="Nishi, Kentaro" userId="99f4c19a-673e-4fa1-a403-bcbf0c906067" providerId="ADAL" clId="{91306296-C567-49E7-987D-F0AD35BF557F}" dt="2023-05-25T09:14:46.710" v="109" actId="478"/>
          <ac:spMkLst>
            <pc:docMk/>
            <pc:sldMk cId="1888080531" sldId="2147376573"/>
            <ac:spMk id="17" creationId="{9E21017B-EC49-4216-90B9-94A5889A5216}"/>
          </ac:spMkLst>
        </pc:spChg>
        <pc:spChg chg="add del mod">
          <ac:chgData name="Nishi, Kentaro" userId="99f4c19a-673e-4fa1-a403-bcbf0c906067" providerId="ADAL" clId="{91306296-C567-49E7-987D-F0AD35BF557F}" dt="2023-05-25T09:14:44.758" v="108" actId="478"/>
          <ac:spMkLst>
            <pc:docMk/>
            <pc:sldMk cId="1888080531" sldId="2147376573"/>
            <ac:spMk id="18" creationId="{54F73EE5-6DFF-4FE4-B443-9242575A601F}"/>
          </ac:spMkLst>
        </pc:spChg>
        <pc:spChg chg="add mod">
          <ac:chgData name="Nishi, Kentaro" userId="99f4c19a-673e-4fa1-a403-bcbf0c906067" providerId="ADAL" clId="{91306296-C567-49E7-987D-F0AD35BF557F}" dt="2023-05-25T09:14:46.951" v="110"/>
          <ac:spMkLst>
            <pc:docMk/>
            <pc:sldMk cId="1888080531" sldId="2147376573"/>
            <ac:spMk id="19" creationId="{B480362F-88B0-42FC-A844-C426D886E062}"/>
          </ac:spMkLst>
        </pc:spChg>
      </pc:sldChg>
      <pc:sldChg chg="addSp delSp modSp mod">
        <pc:chgData name="Nishi, Kentaro" userId="99f4c19a-673e-4fa1-a403-bcbf0c906067" providerId="ADAL" clId="{91306296-C567-49E7-987D-F0AD35BF557F}" dt="2023-05-25T09:14:22.822" v="105"/>
        <pc:sldMkLst>
          <pc:docMk/>
          <pc:sldMk cId="2154837173" sldId="2147376577"/>
        </pc:sldMkLst>
        <pc:spChg chg="del">
          <ac:chgData name="Nishi, Kentaro" userId="99f4c19a-673e-4fa1-a403-bcbf0c906067" providerId="ADAL" clId="{91306296-C567-49E7-987D-F0AD35BF557F}" dt="2023-05-25T01:55:39.270" v="37" actId="478"/>
          <ac:spMkLst>
            <pc:docMk/>
            <pc:sldMk cId="2154837173" sldId="2147376577"/>
            <ac:spMk id="4" creationId="{1163DDE8-1150-4D0A-8D6E-7C25AEED9635}"/>
          </ac:spMkLst>
        </pc:spChg>
        <pc:spChg chg="add del mod">
          <ac:chgData name="Nishi, Kentaro" userId="99f4c19a-673e-4fa1-a403-bcbf0c906067" providerId="ADAL" clId="{91306296-C567-49E7-987D-F0AD35BF557F}" dt="2023-05-25T09:14:22.656" v="104" actId="478"/>
          <ac:spMkLst>
            <pc:docMk/>
            <pc:sldMk cId="2154837173" sldId="2147376577"/>
            <ac:spMk id="12" creationId="{7BCE8AC2-2DA7-432F-AE21-47F1D81D8065}"/>
          </ac:spMkLst>
        </pc:spChg>
        <pc:spChg chg="add mod">
          <ac:chgData name="Nishi, Kentaro" userId="99f4c19a-673e-4fa1-a403-bcbf0c906067" providerId="ADAL" clId="{91306296-C567-49E7-987D-F0AD35BF557F}" dt="2023-05-25T09:14:22.822" v="105"/>
          <ac:spMkLst>
            <pc:docMk/>
            <pc:sldMk cId="2154837173" sldId="2147376577"/>
            <ac:spMk id="14" creationId="{E5EA14FD-543A-44CC-ABFD-8126CECFEAD6}"/>
          </ac:spMkLst>
        </pc:spChg>
      </pc:sldChg>
      <pc:sldChg chg="addSp delSp modSp mod">
        <pc:chgData name="Nishi, Kentaro" userId="99f4c19a-673e-4fa1-a403-bcbf0c906067" providerId="ADAL" clId="{91306296-C567-49E7-987D-F0AD35BF557F}" dt="2023-05-25T09:14:19.907" v="103"/>
        <pc:sldMkLst>
          <pc:docMk/>
          <pc:sldMk cId="1505456429" sldId="2147376591"/>
        </pc:sldMkLst>
        <pc:spChg chg="add del mod">
          <ac:chgData name="Nishi, Kentaro" userId="99f4c19a-673e-4fa1-a403-bcbf0c906067" providerId="ADAL" clId="{91306296-C567-49E7-987D-F0AD35BF557F}" dt="2023-05-25T09:14:19.725" v="102" actId="478"/>
          <ac:spMkLst>
            <pc:docMk/>
            <pc:sldMk cId="1505456429" sldId="2147376591"/>
            <ac:spMk id="10" creationId="{78648063-6B34-40F5-8764-66BCECC7F664}"/>
          </ac:spMkLst>
        </pc:spChg>
        <pc:spChg chg="add mod">
          <ac:chgData name="Nishi, Kentaro" userId="99f4c19a-673e-4fa1-a403-bcbf0c906067" providerId="ADAL" clId="{91306296-C567-49E7-987D-F0AD35BF557F}" dt="2023-05-25T09:14:19.907" v="103"/>
          <ac:spMkLst>
            <pc:docMk/>
            <pc:sldMk cId="1505456429" sldId="2147376591"/>
            <ac:spMk id="12" creationId="{107E88E5-06A5-4EF2-ACAF-4EC45569F6B2}"/>
          </ac:spMkLst>
        </pc:spChg>
      </pc:sldChg>
      <pc:sldChg chg="addSp modSp mod">
        <pc:chgData name="Nishi, Kentaro" userId="99f4c19a-673e-4fa1-a403-bcbf0c906067" providerId="ADAL" clId="{91306296-C567-49E7-987D-F0AD35BF557F}" dt="2023-05-25T09:12:12.893" v="85" actId="20577"/>
        <pc:sldMkLst>
          <pc:docMk/>
          <pc:sldMk cId="1450565050" sldId="2147376592"/>
        </pc:sldMkLst>
        <pc:spChg chg="add mod">
          <ac:chgData name="Nishi, Kentaro" userId="99f4c19a-673e-4fa1-a403-bcbf0c906067" providerId="ADAL" clId="{91306296-C567-49E7-987D-F0AD35BF557F}" dt="2023-05-25T09:12:12.893" v="85" actId="20577"/>
          <ac:spMkLst>
            <pc:docMk/>
            <pc:sldMk cId="1450565050" sldId="2147376592"/>
            <ac:spMk id="10" creationId="{FDEAC470-B3E7-46C5-B29A-8F1D7EE90403}"/>
          </ac:spMkLst>
        </pc:spChg>
      </pc:sldChg>
      <pc:sldChg chg="addSp delSp modSp mod">
        <pc:chgData name="Nishi, Kentaro" userId="99f4c19a-673e-4fa1-a403-bcbf0c906067" providerId="ADAL" clId="{91306296-C567-49E7-987D-F0AD35BF557F}" dt="2023-05-25T09:14:49.167" v="111"/>
        <pc:sldMkLst>
          <pc:docMk/>
          <pc:sldMk cId="79892892" sldId="2147376593"/>
        </pc:sldMkLst>
        <pc:spChg chg="add del mod">
          <ac:chgData name="Nishi, Kentaro" userId="99f4c19a-673e-4fa1-a403-bcbf0c906067" providerId="ADAL" clId="{91306296-C567-49E7-987D-F0AD35BF557F}" dt="2023-05-25T09:14:41.973" v="107" actId="478"/>
          <ac:spMkLst>
            <pc:docMk/>
            <pc:sldMk cId="79892892" sldId="2147376593"/>
            <ac:spMk id="17" creationId="{AF843F75-414B-447E-B8A8-E8756E27109D}"/>
          </ac:spMkLst>
        </pc:spChg>
        <pc:spChg chg="add mod">
          <ac:chgData name="Nishi, Kentaro" userId="99f4c19a-673e-4fa1-a403-bcbf0c906067" providerId="ADAL" clId="{91306296-C567-49E7-987D-F0AD35BF557F}" dt="2023-05-25T09:14:49.167" v="111"/>
          <ac:spMkLst>
            <pc:docMk/>
            <pc:sldMk cId="79892892" sldId="2147376593"/>
            <ac:spMk id="18" creationId="{CDE90C84-8CCE-4BA2-A737-72F09135F814}"/>
          </ac:spMkLst>
        </pc:spChg>
      </pc:sldChg>
      <pc:sldChg chg="addSp delSp modSp mod">
        <pc:chgData name="Nishi, Kentaro" userId="99f4c19a-673e-4fa1-a403-bcbf0c906067" providerId="ADAL" clId="{91306296-C567-49E7-987D-F0AD35BF557F}" dt="2023-05-25T09:11:20.697" v="75"/>
        <pc:sldMkLst>
          <pc:docMk/>
          <pc:sldMk cId="2657891735" sldId="2147376607"/>
        </pc:sldMkLst>
        <pc:spChg chg="add del mod">
          <ac:chgData name="Nishi, Kentaro" userId="99f4c19a-673e-4fa1-a403-bcbf0c906067" providerId="ADAL" clId="{91306296-C567-49E7-987D-F0AD35BF557F}" dt="2023-05-25T09:11:20.527" v="74" actId="478"/>
          <ac:spMkLst>
            <pc:docMk/>
            <pc:sldMk cId="2657891735" sldId="2147376607"/>
            <ac:spMk id="18" creationId="{B1C49343-A8F4-4421-A66C-69831F9AB8AD}"/>
          </ac:spMkLst>
        </pc:spChg>
        <pc:spChg chg="add mod">
          <ac:chgData name="Nishi, Kentaro" userId="99f4c19a-673e-4fa1-a403-bcbf0c906067" providerId="ADAL" clId="{91306296-C567-49E7-987D-F0AD35BF557F}" dt="2023-05-25T09:11:20.697" v="75"/>
          <ac:spMkLst>
            <pc:docMk/>
            <pc:sldMk cId="2657891735" sldId="2147376607"/>
            <ac:spMk id="19" creationId="{5C220D99-4AB5-46A7-A1B5-FC2A6F30C583}"/>
          </ac:spMkLst>
        </pc:spChg>
      </pc:sldChg>
      <pc:sldChg chg="addSp delSp modSp mod">
        <pc:chgData name="Nishi, Kentaro" userId="99f4c19a-673e-4fa1-a403-bcbf0c906067" providerId="ADAL" clId="{91306296-C567-49E7-987D-F0AD35BF557F}" dt="2023-05-25T09:11:18.539" v="73"/>
        <pc:sldMkLst>
          <pc:docMk/>
          <pc:sldMk cId="2355929026" sldId="2147376608"/>
        </pc:sldMkLst>
        <pc:spChg chg="add del mod">
          <ac:chgData name="Nishi, Kentaro" userId="99f4c19a-673e-4fa1-a403-bcbf0c906067" providerId="ADAL" clId="{91306296-C567-49E7-987D-F0AD35BF557F}" dt="2023-05-25T09:11:18.357" v="72" actId="478"/>
          <ac:spMkLst>
            <pc:docMk/>
            <pc:sldMk cId="2355929026" sldId="2147376608"/>
            <ac:spMk id="10" creationId="{57722EE6-0858-4306-A050-0AB7BCC84977}"/>
          </ac:spMkLst>
        </pc:spChg>
        <pc:spChg chg="add mod">
          <ac:chgData name="Nishi, Kentaro" userId="99f4c19a-673e-4fa1-a403-bcbf0c906067" providerId="ADAL" clId="{91306296-C567-49E7-987D-F0AD35BF557F}" dt="2023-05-25T09:11:18.539" v="73"/>
          <ac:spMkLst>
            <pc:docMk/>
            <pc:sldMk cId="2355929026" sldId="2147376608"/>
            <ac:spMk id="11" creationId="{00EAAD7F-7EDF-4E3D-9AC2-4D2185E10BA0}"/>
          </ac:spMkLst>
        </pc:spChg>
      </pc:sldChg>
      <pc:sldChg chg="addSp delSp modSp mod">
        <pc:chgData name="Nishi, Kentaro" userId="99f4c19a-673e-4fa1-a403-bcbf0c906067" providerId="ADAL" clId="{91306296-C567-49E7-987D-F0AD35BF557F}" dt="2023-05-25T09:11:16.250" v="71"/>
        <pc:sldMkLst>
          <pc:docMk/>
          <pc:sldMk cId="827989469" sldId="2147376609"/>
        </pc:sldMkLst>
        <pc:spChg chg="add del mod">
          <ac:chgData name="Nishi, Kentaro" userId="99f4c19a-673e-4fa1-a403-bcbf0c906067" providerId="ADAL" clId="{91306296-C567-49E7-987D-F0AD35BF557F}" dt="2023-05-25T09:11:16.075" v="70" actId="478"/>
          <ac:spMkLst>
            <pc:docMk/>
            <pc:sldMk cId="827989469" sldId="2147376609"/>
            <ac:spMk id="18" creationId="{BC4D0C46-283B-4453-BB9B-D42790E718A7}"/>
          </ac:spMkLst>
        </pc:spChg>
        <pc:spChg chg="add mod">
          <ac:chgData name="Nishi, Kentaro" userId="99f4c19a-673e-4fa1-a403-bcbf0c906067" providerId="ADAL" clId="{91306296-C567-49E7-987D-F0AD35BF557F}" dt="2023-05-25T09:11:16.250" v="71"/>
          <ac:spMkLst>
            <pc:docMk/>
            <pc:sldMk cId="827989469" sldId="2147376609"/>
            <ac:spMk id="19" creationId="{7A8BE900-0A6B-40AF-89FE-23958D461566}"/>
          </ac:spMkLst>
        </pc:spChg>
      </pc:sldChg>
      <pc:sldChg chg="addSp delSp modSp mod">
        <pc:chgData name="Nishi, Kentaro" userId="99f4c19a-673e-4fa1-a403-bcbf0c906067" providerId="ADAL" clId="{91306296-C567-49E7-987D-F0AD35BF557F}" dt="2023-05-25T09:11:13.635" v="69"/>
        <pc:sldMkLst>
          <pc:docMk/>
          <pc:sldMk cId="3627105424" sldId="2147376610"/>
        </pc:sldMkLst>
        <pc:spChg chg="add del mod">
          <ac:chgData name="Nishi, Kentaro" userId="99f4c19a-673e-4fa1-a403-bcbf0c906067" providerId="ADAL" clId="{91306296-C567-49E7-987D-F0AD35BF557F}" dt="2023-05-25T09:11:13.434" v="68" actId="478"/>
          <ac:spMkLst>
            <pc:docMk/>
            <pc:sldMk cId="3627105424" sldId="2147376610"/>
            <ac:spMk id="10" creationId="{BBCFC7BF-BDB3-4651-9CCA-279367CAB7ED}"/>
          </ac:spMkLst>
        </pc:spChg>
        <pc:spChg chg="add mod">
          <ac:chgData name="Nishi, Kentaro" userId="99f4c19a-673e-4fa1-a403-bcbf0c906067" providerId="ADAL" clId="{91306296-C567-49E7-987D-F0AD35BF557F}" dt="2023-05-25T09:11:13.635" v="69"/>
          <ac:spMkLst>
            <pc:docMk/>
            <pc:sldMk cId="3627105424" sldId="2147376610"/>
            <ac:spMk id="11" creationId="{E03E0A91-61EE-4443-9997-1024BA9A2D04}"/>
          </ac:spMkLst>
        </pc:spChg>
      </pc:sldChg>
      <pc:sldChg chg="addSp modSp mod">
        <pc:chgData name="Nishi, Kentaro" userId="99f4c19a-673e-4fa1-a403-bcbf0c906067" providerId="ADAL" clId="{91306296-C567-49E7-987D-F0AD35BF557F}" dt="2023-05-25T09:11:06.457" v="67" actId="20577"/>
        <pc:sldMkLst>
          <pc:docMk/>
          <pc:sldMk cId="2436708289" sldId="2147376611"/>
        </pc:sldMkLst>
        <pc:spChg chg="add mod">
          <ac:chgData name="Nishi, Kentaro" userId="99f4c19a-673e-4fa1-a403-bcbf0c906067" providerId="ADAL" clId="{91306296-C567-49E7-987D-F0AD35BF557F}" dt="2023-05-25T09:11:06.457" v="67" actId="20577"/>
          <ac:spMkLst>
            <pc:docMk/>
            <pc:sldMk cId="2436708289" sldId="2147376611"/>
            <ac:spMk id="18" creationId="{0DCB9ABA-F424-4198-871E-DF79DB353681}"/>
          </ac:spMkLst>
        </pc:spChg>
      </pc:sldChg>
      <pc:sldChg chg="addSp delSp modSp mod">
        <pc:chgData name="Nishi, Kentaro" userId="99f4c19a-673e-4fa1-a403-bcbf0c906067" providerId="ADAL" clId="{91306296-C567-49E7-987D-F0AD35BF557F}" dt="2023-05-25T09:16:22.975" v="113"/>
        <pc:sldMkLst>
          <pc:docMk/>
          <pc:sldMk cId="1305537022" sldId="2147376615"/>
        </pc:sldMkLst>
        <pc:spChg chg="del mod">
          <ac:chgData name="Nishi, Kentaro" userId="99f4c19a-673e-4fa1-a403-bcbf0c906067" providerId="ADAL" clId="{91306296-C567-49E7-987D-F0AD35BF557F}" dt="2023-05-25T09:16:22.804" v="112" actId="478"/>
          <ac:spMkLst>
            <pc:docMk/>
            <pc:sldMk cId="1305537022" sldId="2147376615"/>
            <ac:spMk id="3" creationId="{84D65286-A4AE-415A-A563-DEB54DF9C837}"/>
          </ac:spMkLst>
        </pc:spChg>
        <pc:spChg chg="add del mod">
          <ac:chgData name="Nishi, Kentaro" userId="99f4c19a-673e-4fa1-a403-bcbf0c906067" providerId="ADAL" clId="{91306296-C567-49E7-987D-F0AD35BF557F}" dt="2023-05-25T04:29:28.302" v="45" actId="478"/>
          <ac:spMkLst>
            <pc:docMk/>
            <pc:sldMk cId="1305537022" sldId="2147376615"/>
            <ac:spMk id="21" creationId="{5FB95F47-F1EC-4167-9F26-F4F4C862B99D}"/>
          </ac:spMkLst>
        </pc:spChg>
        <pc:spChg chg="add mod">
          <ac:chgData name="Nishi, Kentaro" userId="99f4c19a-673e-4fa1-a403-bcbf0c906067" providerId="ADAL" clId="{91306296-C567-49E7-987D-F0AD35BF557F}" dt="2023-05-25T09:16:22.975" v="113"/>
          <ac:spMkLst>
            <pc:docMk/>
            <pc:sldMk cId="1305537022" sldId="2147376615"/>
            <ac:spMk id="21" creationId="{C3BAFD2C-6BC3-46E8-A61A-82F268CB96E1}"/>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3/7/3</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0</a:t>
            </a:fld>
            <a:endParaRPr kumimoji="1" lang="ja-JP" altLang="en-US"/>
          </a:p>
        </p:txBody>
      </p:sp>
    </p:spTree>
    <p:extLst>
      <p:ext uri="{BB962C8B-B14F-4D97-AF65-F5344CB8AC3E}">
        <p14:creationId xmlns:p14="http://schemas.microsoft.com/office/powerpoint/2010/main" val="27921182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9</a:t>
            </a:fld>
            <a:endParaRPr kumimoji="1" lang="ja-JP" altLang="en-US"/>
          </a:p>
        </p:txBody>
      </p:sp>
    </p:spTree>
    <p:extLst>
      <p:ext uri="{BB962C8B-B14F-4D97-AF65-F5344CB8AC3E}">
        <p14:creationId xmlns:p14="http://schemas.microsoft.com/office/powerpoint/2010/main" val="1517299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0</a:t>
            </a:fld>
            <a:endParaRPr kumimoji="1" lang="ja-JP" altLang="en-US"/>
          </a:p>
        </p:txBody>
      </p:sp>
    </p:spTree>
    <p:extLst>
      <p:ext uri="{BB962C8B-B14F-4D97-AF65-F5344CB8AC3E}">
        <p14:creationId xmlns:p14="http://schemas.microsoft.com/office/powerpoint/2010/main" val="1517299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1</a:t>
            </a:fld>
            <a:endParaRPr kumimoji="1" lang="ja-JP" altLang="en-US"/>
          </a:p>
        </p:txBody>
      </p:sp>
    </p:spTree>
    <p:extLst>
      <p:ext uri="{BB962C8B-B14F-4D97-AF65-F5344CB8AC3E}">
        <p14:creationId xmlns:p14="http://schemas.microsoft.com/office/powerpoint/2010/main" val="937946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2</a:t>
            </a:fld>
            <a:endParaRPr kumimoji="1" lang="ja-JP" altLang="en-US"/>
          </a:p>
        </p:txBody>
      </p:sp>
    </p:spTree>
    <p:extLst>
      <p:ext uri="{BB962C8B-B14F-4D97-AF65-F5344CB8AC3E}">
        <p14:creationId xmlns:p14="http://schemas.microsoft.com/office/powerpoint/2010/main" val="2137844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3</a:t>
            </a:fld>
            <a:endParaRPr kumimoji="1" lang="ja-JP" altLang="en-US"/>
          </a:p>
        </p:txBody>
      </p:sp>
    </p:spTree>
    <p:extLst>
      <p:ext uri="{BB962C8B-B14F-4D97-AF65-F5344CB8AC3E}">
        <p14:creationId xmlns:p14="http://schemas.microsoft.com/office/powerpoint/2010/main" val="35373460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4</a:t>
            </a:fld>
            <a:endParaRPr kumimoji="1" lang="ja-JP" altLang="en-US"/>
          </a:p>
        </p:txBody>
      </p:sp>
    </p:spTree>
    <p:extLst>
      <p:ext uri="{BB962C8B-B14F-4D97-AF65-F5344CB8AC3E}">
        <p14:creationId xmlns:p14="http://schemas.microsoft.com/office/powerpoint/2010/main" val="3216968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5</a:t>
            </a:fld>
            <a:endParaRPr kumimoji="1" lang="ja-JP" altLang="en-US"/>
          </a:p>
        </p:txBody>
      </p:sp>
    </p:spTree>
    <p:extLst>
      <p:ext uri="{BB962C8B-B14F-4D97-AF65-F5344CB8AC3E}">
        <p14:creationId xmlns:p14="http://schemas.microsoft.com/office/powerpoint/2010/main" val="10214610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6</a:t>
            </a:fld>
            <a:endParaRPr kumimoji="1" lang="ja-JP" altLang="en-US"/>
          </a:p>
        </p:txBody>
      </p:sp>
    </p:spTree>
    <p:extLst>
      <p:ext uri="{BB962C8B-B14F-4D97-AF65-F5344CB8AC3E}">
        <p14:creationId xmlns:p14="http://schemas.microsoft.com/office/powerpoint/2010/main" val="421226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7</a:t>
            </a:fld>
            <a:endParaRPr kumimoji="1" lang="ja-JP" altLang="en-US"/>
          </a:p>
        </p:txBody>
      </p:sp>
    </p:spTree>
    <p:extLst>
      <p:ext uri="{BB962C8B-B14F-4D97-AF65-F5344CB8AC3E}">
        <p14:creationId xmlns:p14="http://schemas.microsoft.com/office/powerpoint/2010/main" val="25501836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8</a:t>
            </a:fld>
            <a:endParaRPr kumimoji="1" lang="ja-JP" altLang="en-US"/>
          </a:p>
        </p:txBody>
      </p:sp>
    </p:spTree>
    <p:extLst>
      <p:ext uri="{BB962C8B-B14F-4D97-AF65-F5344CB8AC3E}">
        <p14:creationId xmlns:p14="http://schemas.microsoft.com/office/powerpoint/2010/main" val="4292331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3BB36FD-205D-479A-8E67-CA248D73DE36}" type="slidenum">
              <a:rPr lang="ja-JP" altLang="en-US">
                <a:solidFill>
                  <a:prstClr val="black"/>
                </a:solidFill>
              </a:rPr>
              <a:pPr/>
              <a:t>1</a:t>
            </a:fld>
            <a:endParaRPr lang="en-US" altLang="ja-JP">
              <a:solidFill>
                <a:prstClr val="black"/>
              </a:solidFill>
            </a:endParaRPr>
          </a:p>
        </p:txBody>
      </p:sp>
      <p:sp>
        <p:nvSpPr>
          <p:cNvPr id="3752962" name="Rectangle 2"/>
          <p:cNvSpPr>
            <a:spLocks noGrp="1" noRot="1" noChangeAspect="1" noChangeArrowheads="1" noTextEdit="1"/>
          </p:cNvSpPr>
          <p:nvPr>
            <p:ph type="sldImg"/>
          </p:nvPr>
        </p:nvSpPr>
        <p:spPr>
          <a:xfrm>
            <a:off x="715963" y="757238"/>
            <a:ext cx="5383212" cy="3727450"/>
          </a:xfrm>
          <a:ln/>
        </p:spPr>
      </p:sp>
      <p:sp>
        <p:nvSpPr>
          <p:cNvPr id="3752963" name="Rectangle 3"/>
          <p:cNvSpPr>
            <a:spLocks noGrp="1" noChangeArrowheads="1"/>
          </p:cNvSpPr>
          <p:nvPr>
            <p:ph type="body" idx="1"/>
          </p:nvPr>
        </p:nvSpPr>
        <p:spPr/>
        <p:txBody>
          <a:bodyPr/>
          <a:lstStyle/>
          <a:p>
            <a:pPr>
              <a:buFontTx/>
              <a:buChar char="•"/>
            </a:pPr>
            <a:endParaRPr lang="en-GB"/>
          </a:p>
        </p:txBody>
      </p:sp>
    </p:spTree>
    <p:extLst>
      <p:ext uri="{BB962C8B-B14F-4D97-AF65-F5344CB8AC3E}">
        <p14:creationId xmlns:p14="http://schemas.microsoft.com/office/powerpoint/2010/main" val="13397879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19</a:t>
            </a:fld>
            <a:endParaRPr kumimoji="1" lang="ja-JP" altLang="en-US"/>
          </a:p>
        </p:txBody>
      </p:sp>
    </p:spTree>
    <p:extLst>
      <p:ext uri="{BB962C8B-B14F-4D97-AF65-F5344CB8AC3E}">
        <p14:creationId xmlns:p14="http://schemas.microsoft.com/office/powerpoint/2010/main" val="33527000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0</a:t>
            </a:fld>
            <a:endParaRPr kumimoji="1" lang="ja-JP" altLang="en-US"/>
          </a:p>
        </p:txBody>
      </p:sp>
    </p:spTree>
    <p:extLst>
      <p:ext uri="{BB962C8B-B14F-4D97-AF65-F5344CB8AC3E}">
        <p14:creationId xmlns:p14="http://schemas.microsoft.com/office/powerpoint/2010/main" val="25511096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1</a:t>
            </a:fld>
            <a:endParaRPr kumimoji="1" lang="ja-JP" altLang="en-US"/>
          </a:p>
        </p:txBody>
      </p:sp>
    </p:spTree>
    <p:extLst>
      <p:ext uri="{BB962C8B-B14F-4D97-AF65-F5344CB8AC3E}">
        <p14:creationId xmlns:p14="http://schemas.microsoft.com/office/powerpoint/2010/main" val="34715200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2</a:t>
            </a:fld>
            <a:endParaRPr kumimoji="1" lang="ja-JP" altLang="en-US"/>
          </a:p>
        </p:txBody>
      </p:sp>
    </p:spTree>
    <p:extLst>
      <p:ext uri="{BB962C8B-B14F-4D97-AF65-F5344CB8AC3E}">
        <p14:creationId xmlns:p14="http://schemas.microsoft.com/office/powerpoint/2010/main" val="32975922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3</a:t>
            </a:fld>
            <a:endParaRPr kumimoji="1" lang="ja-JP" altLang="en-US"/>
          </a:p>
        </p:txBody>
      </p:sp>
    </p:spTree>
    <p:extLst>
      <p:ext uri="{BB962C8B-B14F-4D97-AF65-F5344CB8AC3E}">
        <p14:creationId xmlns:p14="http://schemas.microsoft.com/office/powerpoint/2010/main" val="26117246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4</a:t>
            </a:fld>
            <a:endParaRPr kumimoji="1" lang="ja-JP" altLang="en-US"/>
          </a:p>
        </p:txBody>
      </p:sp>
    </p:spTree>
    <p:extLst>
      <p:ext uri="{BB962C8B-B14F-4D97-AF65-F5344CB8AC3E}">
        <p14:creationId xmlns:p14="http://schemas.microsoft.com/office/powerpoint/2010/main" val="2560451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2</a:t>
            </a:fld>
            <a:endParaRPr kumimoji="1" lang="ja-JP" altLang="en-US"/>
          </a:p>
        </p:txBody>
      </p:sp>
    </p:spTree>
    <p:extLst>
      <p:ext uri="{BB962C8B-B14F-4D97-AF65-F5344CB8AC3E}">
        <p14:creationId xmlns:p14="http://schemas.microsoft.com/office/powerpoint/2010/main" val="10990565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3</a:t>
            </a:fld>
            <a:endParaRPr kumimoji="1" lang="ja-JP" altLang="en-US"/>
          </a:p>
        </p:txBody>
      </p:sp>
    </p:spTree>
    <p:extLst>
      <p:ext uri="{BB962C8B-B14F-4D97-AF65-F5344CB8AC3E}">
        <p14:creationId xmlns:p14="http://schemas.microsoft.com/office/powerpoint/2010/main" val="3138036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4</a:t>
            </a:fld>
            <a:endParaRPr kumimoji="1" lang="ja-JP" altLang="en-US"/>
          </a:p>
        </p:txBody>
      </p:sp>
    </p:spTree>
    <p:extLst>
      <p:ext uri="{BB962C8B-B14F-4D97-AF65-F5344CB8AC3E}">
        <p14:creationId xmlns:p14="http://schemas.microsoft.com/office/powerpoint/2010/main" val="14604940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5</a:t>
            </a:fld>
            <a:endParaRPr kumimoji="1" lang="ja-JP" altLang="en-US"/>
          </a:p>
        </p:txBody>
      </p:sp>
    </p:spTree>
    <p:extLst>
      <p:ext uri="{BB962C8B-B14F-4D97-AF65-F5344CB8AC3E}">
        <p14:creationId xmlns:p14="http://schemas.microsoft.com/office/powerpoint/2010/main" val="2725578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6</a:t>
            </a:fld>
            <a:endParaRPr kumimoji="1" lang="ja-JP" altLang="en-US"/>
          </a:p>
        </p:txBody>
      </p:sp>
    </p:spTree>
    <p:extLst>
      <p:ext uri="{BB962C8B-B14F-4D97-AF65-F5344CB8AC3E}">
        <p14:creationId xmlns:p14="http://schemas.microsoft.com/office/powerpoint/2010/main" val="1361803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7</a:t>
            </a:fld>
            <a:endParaRPr kumimoji="1" lang="ja-JP" altLang="en-US"/>
          </a:p>
        </p:txBody>
      </p:sp>
    </p:spTree>
    <p:extLst>
      <p:ext uri="{BB962C8B-B14F-4D97-AF65-F5344CB8AC3E}">
        <p14:creationId xmlns:p14="http://schemas.microsoft.com/office/powerpoint/2010/main" val="1818552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3882552-5C93-45E7-8606-5AE1EB35E2E6}" type="slidenum">
              <a:rPr kumimoji="1" lang="ja-JP" altLang="en-US" smtClean="0"/>
              <a:t>8</a:t>
            </a:fld>
            <a:endParaRPr kumimoji="1" lang="ja-JP" altLang="en-US"/>
          </a:p>
        </p:txBody>
      </p:sp>
    </p:spTree>
    <p:extLst>
      <p:ext uri="{BB962C8B-B14F-4D97-AF65-F5344CB8AC3E}">
        <p14:creationId xmlns:p14="http://schemas.microsoft.com/office/powerpoint/2010/main" val="41316404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22297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2705563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555759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3984091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0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150088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0155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a:p>
        </p:txBody>
      </p:sp>
    </p:spTree>
    <p:extLst>
      <p:ext uri="{BB962C8B-B14F-4D97-AF65-F5344CB8AC3E}">
        <p14:creationId xmlns:p14="http://schemas.microsoft.com/office/powerpoint/2010/main" val="1633268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1924546284"/>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1439264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2867498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3978469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1595596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32203405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14489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テキスト プレースホルダー 19">
            <a:extLst>
              <a:ext uri="{FF2B5EF4-FFF2-40B4-BE49-F238E27FC236}">
                <a16:creationId xmlns:a16="http://schemas.microsoft.com/office/drawing/2014/main" id="{C8AF68E5-88A7-41AB-B0B5-06C43A1E4E40}"/>
              </a:ext>
            </a:extLst>
          </p:cNvPr>
          <p:cNvSpPr>
            <a:spLocks noGrp="1"/>
          </p:cNvSpPr>
          <p:nvPr>
            <p:ph type="body" sz="quarter" idx="16" hasCustomPrompt="1"/>
          </p:nvPr>
        </p:nvSpPr>
        <p:spPr>
          <a:xfrm>
            <a:off x="415925" y="152400"/>
            <a:ext cx="9072000" cy="360000"/>
          </a:xfrm>
        </p:spPr>
        <p:txBody>
          <a:bodyPr anchor="b"/>
          <a:lstStyle>
            <a:lvl1pPr>
              <a:defRPr sz="1846" b="1">
                <a:latin typeface="Yu Gothic UI" panose="020B0500000000000000" pitchFamily="50" charset="-128"/>
                <a:ea typeface="Yu Gothic UI" panose="020B0500000000000000" pitchFamily="50" charset="-128"/>
                <a:sym typeface="Yu Gothic UI" panose="020B0500000000000000" pitchFamily="50" charset="-128"/>
              </a:defRPr>
            </a:lvl1pPr>
          </a:lstStyle>
          <a:p>
            <a:pPr lvl="0"/>
            <a:r>
              <a:rPr kumimoji="1" lang="ja-JP" altLang="en-US"/>
              <a:t>スライドタイトル</a:t>
            </a:r>
          </a:p>
        </p:txBody>
      </p:sp>
      <p:sp>
        <p:nvSpPr>
          <p:cNvPr id="22" name="テキスト プレースホルダー 21">
            <a:extLst>
              <a:ext uri="{FF2B5EF4-FFF2-40B4-BE49-F238E27FC236}">
                <a16:creationId xmlns:a16="http://schemas.microsoft.com/office/drawing/2014/main" id="{0AEBBE2F-AC5F-4D35-BE4A-C7EFFF7B77CA}"/>
              </a:ext>
            </a:extLst>
          </p:cNvPr>
          <p:cNvSpPr>
            <a:spLocks noGrp="1"/>
          </p:cNvSpPr>
          <p:nvPr>
            <p:ph type="body" sz="quarter" idx="17" hasCustomPrompt="1"/>
          </p:nvPr>
        </p:nvSpPr>
        <p:spPr>
          <a:xfrm>
            <a:off x="415925" y="612167"/>
            <a:ext cx="9072564" cy="720000"/>
          </a:xfrm>
        </p:spPr>
        <p:txBody>
          <a:bodyPr/>
          <a:lstStyle>
            <a:lvl1pPr marL="0" indent="0">
              <a:buNone/>
              <a:defRPr lang="en-US" altLang="ja-JP" sz="1662" baseline="0" noProof="0" dirty="0" smtClean="0">
                <a:latin typeface="Yu Gothic UI" panose="020B0500000000000000" pitchFamily="50" charset="-128"/>
                <a:ea typeface="Yu Gothic UI" panose="020B0500000000000000" pitchFamily="50" charset="-128"/>
                <a:sym typeface="Yu Gothic UI" panose="020B0500000000000000" pitchFamily="50" charset="-128"/>
              </a:defRPr>
            </a:lvl1pPr>
          </a:lstStyle>
          <a:p>
            <a:pPr marL="316531" lvl="0" indent="-316531">
              <a:spcBef>
                <a:spcPts val="277"/>
              </a:spcBef>
              <a:buFont typeface="Wingdings" panose="05000000000000000000" pitchFamily="2" charset="2"/>
              <a:buChar char="l"/>
            </a:pPr>
            <a:r>
              <a:rPr kumimoji="1" lang="ja-JP" altLang="en-US"/>
              <a:t>キーメッセージを入力（本スライドで一番伝えたいこと＜名詞止め・体言止め不可＞）</a:t>
            </a:r>
            <a:endParaRPr kumimoji="1" lang="en-US" altLang="ja-JP"/>
          </a:p>
        </p:txBody>
      </p:sp>
      <p:cxnSp>
        <p:nvCxnSpPr>
          <p:cNvPr id="23" name="直線矢印コネクタ 22">
            <a:extLst>
              <a:ext uri="{FF2B5EF4-FFF2-40B4-BE49-F238E27FC236}">
                <a16:creationId xmlns:a16="http://schemas.microsoft.com/office/drawing/2014/main" id="{99245F09-2603-46BD-96C8-7B3908E6D8BB}"/>
              </a:ext>
            </a:extLst>
          </p:cNvPr>
          <p:cNvCxnSpPr>
            <a:cxnSpLocks/>
          </p:cNvCxnSpPr>
          <p:nvPr userDrawn="1"/>
        </p:nvCxnSpPr>
        <p:spPr bwMode="gray">
          <a:xfrm>
            <a:off x="417000" y="512400"/>
            <a:ext cx="9072000"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 9">
            <a:extLst>
              <a:ext uri="{FF2B5EF4-FFF2-40B4-BE49-F238E27FC236}">
                <a16:creationId xmlns:a16="http://schemas.microsoft.com/office/drawing/2014/main" id="{7EC3081B-A527-4B1F-86A8-3A050229A37D}"/>
              </a:ext>
            </a:extLst>
          </p:cNvPr>
          <p:cNvSpPr>
            <a:spLocks noGrp="1"/>
          </p:cNvSpPr>
          <p:nvPr>
            <p:ph type="sldNum" sz="quarter" idx="4"/>
          </p:nvPr>
        </p:nvSpPr>
        <p:spPr bwMode="gray">
          <a:xfrm>
            <a:off x="9310074" y="6592830"/>
            <a:ext cx="180000" cy="180000"/>
          </a:xfrm>
          <a:prstGeom prst="rect">
            <a:avLst/>
          </a:prstGeom>
        </p:spPr>
        <p:txBody>
          <a:bodyPr vert="horz" wrap="none" lIns="0" tIns="0" rIns="0" bIns="0" rtlCol="0" anchor="ctr" anchorCtr="0"/>
          <a:lstStyle>
            <a:lvl1pPr algn="ctr">
              <a:defRPr sz="1292">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stStyle>
          <a:p>
            <a:fld id="{AA5FCFE5-FE56-4EF1-80A8-07776887C2A1}" type="slidenum">
              <a:rPr kumimoji="1" lang="ja-JP" altLang="en-US" smtClean="0"/>
              <a:pPr/>
              <a:t>‹#›</a:t>
            </a:fld>
            <a:endParaRPr kumimoji="1" lang="ja-JP" altLang="en-US"/>
          </a:p>
        </p:txBody>
      </p:sp>
    </p:spTree>
    <p:extLst>
      <p:ext uri="{BB962C8B-B14F-4D97-AF65-F5344CB8AC3E}">
        <p14:creationId xmlns:p14="http://schemas.microsoft.com/office/powerpoint/2010/main" val="3743612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5"/>
            </p:custDataLst>
            <p:extLst>
              <p:ext uri="{D42A27DB-BD31-4B8C-83A1-F6EECF244321}">
                <p14:modId xmlns:p14="http://schemas.microsoft.com/office/powerpoint/2010/main" val="2219315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63" imgH="564" progId="TCLayout.ActiveDocument.1">
                  <p:embed/>
                </p:oleObj>
              </mc:Choice>
              <mc:Fallback>
                <p:oleObj name="think-cell スライド" r:id="rId16" imgW="563" imgH="564" progId="TCLayout.ActiveDocument.1">
                  <p:embed/>
                  <p:pic>
                    <p:nvPicPr>
                      <p:cNvPr id="4" name="オブジェクト 3"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610129"/>
            <a:ext cx="9072000" cy="720000"/>
          </a:xfrm>
          <a:prstGeom prst="rect">
            <a:avLst/>
          </a:prstGeom>
        </p:spPr>
        <p:txBody>
          <a:bodyPr vert="horz" lIns="36000" tIns="36000" rIns="36000" bIns="36000"/>
          <a:lstStyle/>
          <a:p>
            <a:pPr marL="342900" marR="0" lvl="0" indent="-342900" fontAlgn="auto">
              <a:lnSpc>
                <a:spcPct val="110000"/>
              </a:lnSpc>
              <a:spcBef>
                <a:spcPts val="300"/>
              </a:spcBef>
              <a:spcAft>
                <a:spcPts val="0"/>
              </a:spcAft>
              <a:buClrTx/>
              <a:buSzPct val="100000"/>
              <a:buFont typeface="Wingdings" panose="05000000000000000000" pitchFamily="2" charset="2"/>
              <a:buChar char="l"/>
              <a:tabLst/>
            </a:pPr>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416999" y="6592830"/>
            <a:ext cx="4068000" cy="1800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a:p>
        </p:txBody>
      </p:sp>
      <p:sp>
        <p:nvSpPr>
          <p:cNvPr id="9" name="スライド番号プレースホルダ 9"/>
          <p:cNvSpPr>
            <a:spLocks noGrp="1"/>
          </p:cNvSpPr>
          <p:nvPr>
            <p:ph type="sldNum" sz="quarter" idx="4"/>
          </p:nvPr>
        </p:nvSpPr>
        <p:spPr bwMode="gray">
          <a:xfrm>
            <a:off x="9706582" y="6665658"/>
            <a:ext cx="180000" cy="180000"/>
          </a:xfrm>
          <a:prstGeom prst="rect">
            <a:avLst/>
          </a:prstGeom>
        </p:spPr>
        <p:txBody>
          <a:bodyPr vert="horz" wrap="none" lIns="0" tIns="0" rIns="0" bIns="0" rtlCol="0" anchor="ctr" anchorCtr="0"/>
          <a:lstStyle>
            <a:lvl1pPr algn="ctr">
              <a:defRPr sz="14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2" r:id="rId1"/>
    <p:sldLayoutId id="2147483934" r:id="rId2"/>
    <p:sldLayoutId id="2147483935"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Lst>
  <p:hf hdr="0" ftr="0" dt="0"/>
  <p:txStyles>
    <p:titleStyle>
      <a:lvl1pPr algn="l" defTabSz="990564" rtl="0" eaLnBrk="1" latinLnBrk="0" hangingPunct="1">
        <a:spcBef>
          <a:spcPts val="600"/>
        </a:spcBef>
        <a:buNone/>
        <a:defRPr kumimoji="1" lang="en-US" altLang="en-US" sz="1800" b="0" kern="1200" baseline="0" noProof="0" dirty="0">
          <a:solidFill>
            <a:schemeClr val="tx1"/>
          </a:solidFill>
          <a:latin typeface="+mn-lt"/>
          <a:ea typeface="+mn-ea"/>
          <a:cs typeface="+mn-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323" userDrawn="1">
          <p15:clr>
            <a:srgbClr val="A4A3A4"/>
          </p15:clr>
        </p15:guide>
        <p15:guide id="7" orient="horz" pos="391" userDrawn="1">
          <p15:clr>
            <a:srgbClr val="A4A3A4"/>
          </p15:clr>
        </p15:guide>
        <p15:guide id="8" orient="horz" pos="913" userDrawn="1">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84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2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oleObject" Target="../embeddings/oleObject28.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8.xml"/><Relationship Id="rId1" Type="http://schemas.openxmlformats.org/officeDocument/2006/relationships/tags" Target="../tags/tag31.xml"/><Relationship Id="rId5" Type="http://schemas.openxmlformats.org/officeDocument/2006/relationships/image" Target="../media/image2.emf"/><Relationship Id="rId4" Type="http://schemas.openxmlformats.org/officeDocument/2006/relationships/oleObject" Target="../embeddings/oleObject3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3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3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3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36.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37.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3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3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オブジェクト 31" hidden="1">
            <a:extLst>
              <a:ext uri="{FF2B5EF4-FFF2-40B4-BE49-F238E27FC236}">
                <a16:creationId xmlns:a16="http://schemas.microsoft.com/office/drawing/2014/main" id="{3769B28A-A5A7-4C63-BC36-68860CB8B45C}"/>
              </a:ext>
            </a:extLst>
          </p:cNvPr>
          <p:cNvGraphicFramePr>
            <a:graphicFrameLocks noChangeAspect="1"/>
          </p:cNvGraphicFramePr>
          <p:nvPr>
            <p:custDataLst>
              <p:tags r:id="rId1"/>
            </p:custDataLst>
            <p:extLst>
              <p:ext uri="{D42A27DB-BD31-4B8C-83A1-F6EECF244321}">
                <p14:modId xmlns:p14="http://schemas.microsoft.com/office/powerpoint/2010/main" val="3125550518"/>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2" name="オブジェクト 31" hidden="1">
                        <a:extLst>
                          <a:ext uri="{FF2B5EF4-FFF2-40B4-BE49-F238E27FC236}">
                            <a16:creationId xmlns:a16="http://schemas.microsoft.com/office/drawing/2014/main" id="{3769B28A-A5A7-4C63-BC36-68860CB8B45C}"/>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pic>
        <p:nvPicPr>
          <p:cNvPr id="4" name="図 3" descr="線画, 甲殻類 が含まれている画像&#10;&#10;自動的に生成された説明">
            <a:extLst>
              <a:ext uri="{FF2B5EF4-FFF2-40B4-BE49-F238E27FC236}">
                <a16:creationId xmlns:a16="http://schemas.microsoft.com/office/drawing/2014/main" id="{FA911370-C9BC-4FC0-8840-2994C00DDD94}"/>
              </a:ext>
            </a:extLst>
          </p:cNvPr>
          <p:cNvPicPr>
            <a:picLocks noChangeAspect="1"/>
          </p:cNvPicPr>
          <p:nvPr/>
        </p:nvPicPr>
        <p:blipFill>
          <a:blip r:embed="rId6"/>
          <a:stretch>
            <a:fillRect/>
          </a:stretch>
        </p:blipFill>
        <p:spPr>
          <a:xfrm>
            <a:off x="2128386" y="604386"/>
            <a:ext cx="5649231" cy="5649231"/>
          </a:xfrm>
          <a:prstGeom prst="rect">
            <a:avLst/>
          </a:prstGeom>
        </p:spPr>
      </p:pic>
      <p:sp>
        <p:nvSpPr>
          <p:cNvPr id="13" name="サブタイトル 3">
            <a:extLst>
              <a:ext uri="{FF2B5EF4-FFF2-40B4-BE49-F238E27FC236}">
                <a16:creationId xmlns:a16="http://schemas.microsoft.com/office/drawing/2014/main" id="{CE31ACC9-15B3-4CC9-8E9F-04CB4DD1D419}"/>
              </a:ext>
            </a:extLst>
          </p:cNvPr>
          <p:cNvSpPr txBox="1">
            <a:spLocks/>
          </p:cNvSpPr>
          <p:nvPr/>
        </p:nvSpPr>
        <p:spPr bwMode="gray">
          <a:xfrm>
            <a:off x="766478" y="5481001"/>
            <a:ext cx="4187077" cy="454563"/>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vl2pPr marL="495283" marR="0" indent="0" algn="ctr" defTabSz="990564" rtl="0" eaLnBrk="1" fontAlgn="auto" latinLnBrk="0" hangingPunct="1">
              <a:lnSpc>
                <a:spcPct val="110000"/>
              </a:lnSpc>
              <a:spcBef>
                <a:spcPts val="600"/>
              </a:spcBef>
              <a:spcAft>
                <a:spcPts val="0"/>
              </a:spcAft>
              <a:buClrTx/>
              <a:buSzPct val="100000"/>
              <a:buFont typeface="Wingdings" panose="05000000000000000000" pitchFamily="2" charset="2"/>
              <a:buNone/>
              <a:tabLst/>
              <a:defRPr kumimoji="1" lang="en-US" sz="2167"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2pPr>
            <a:lvl3pPr marL="990564" marR="0" indent="0" algn="ctr" defTabSz="990564" rtl="0" eaLnBrk="1" fontAlgn="auto" latinLnBrk="0" hangingPunct="1">
              <a:lnSpc>
                <a:spcPct val="110000"/>
              </a:lnSpc>
              <a:spcBef>
                <a:spcPts val="600"/>
              </a:spcBef>
              <a:spcAft>
                <a:spcPts val="0"/>
              </a:spcAft>
              <a:buClrTx/>
              <a:buSzPct val="100000"/>
              <a:buFont typeface="Wingdings" panose="05000000000000000000" pitchFamily="2" charset="2"/>
              <a:buNone/>
              <a:tabLst/>
              <a:defRPr kumimoji="1" lang="en-US" sz="195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3pPr>
            <a:lvl4pPr marL="1485846" marR="0" indent="0" algn="ctr"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lang="en-US" sz="1733" b="0" kern="1200" baseline="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4pPr>
            <a:lvl5pPr marL="1981127" indent="0" algn="ctr" defTabSz="865024" rtl="0" eaLnBrk="1" latinLnBrk="0" hangingPunct="1">
              <a:lnSpc>
                <a:spcPct val="110000"/>
              </a:lnSpc>
              <a:spcBef>
                <a:spcPts val="600"/>
              </a:spcBef>
              <a:spcAft>
                <a:spcPts val="0"/>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lnSpc>
                <a:spcPct val="110000"/>
              </a:lnSpc>
              <a:spcBef>
                <a:spcPts val="600"/>
              </a:spcBef>
              <a:spcAft>
                <a:spcPts val="0"/>
              </a:spcAft>
              <a:buFont typeface="Wingdings" panose="05000000000000000000" pitchFamily="2" charset="2"/>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r>
              <a:rPr lang="ja-JP" altLang="en-US" sz="1477">
                <a:solidFill>
                  <a:prstClr val="black"/>
                </a:solidFill>
              </a:rPr>
              <a:t>先端サービス都市実装プロジェクト</a:t>
            </a:r>
            <a:r>
              <a:rPr lang="en-US" altLang="ja-JP" sz="1477">
                <a:solidFill>
                  <a:prstClr val="black"/>
                </a:solidFill>
              </a:rPr>
              <a:t> </a:t>
            </a:r>
            <a:r>
              <a:rPr lang="ja-JP" altLang="en-US" sz="1477">
                <a:solidFill>
                  <a:sysClr val="windowText" lastClr="000000"/>
                </a:solidFill>
              </a:rPr>
              <a:t>企画提案書</a:t>
            </a:r>
          </a:p>
        </p:txBody>
      </p:sp>
      <p:sp>
        <p:nvSpPr>
          <p:cNvPr id="14" name="テキスト プレースホルダー 4">
            <a:extLst>
              <a:ext uri="{FF2B5EF4-FFF2-40B4-BE49-F238E27FC236}">
                <a16:creationId xmlns:a16="http://schemas.microsoft.com/office/drawing/2014/main" id="{11BE728C-E21C-4E8F-A95E-C405D8172A5E}"/>
              </a:ext>
            </a:extLst>
          </p:cNvPr>
          <p:cNvSpPr txBox="1">
            <a:spLocks/>
          </p:cNvSpPr>
          <p:nvPr/>
        </p:nvSpPr>
        <p:spPr bwMode="gray">
          <a:xfrm>
            <a:off x="766477" y="6178882"/>
            <a:ext cx="4187077" cy="198837"/>
          </a:xfrm>
          <a:prstGeom prst="rect">
            <a:avLst/>
          </a:prstGeom>
        </p:spPr>
        <p:txBody>
          <a:bodyPr vert="horz" wrap="square" lIns="0" tIns="0" rIns="0" bIns="0" rtlCol="0" anchor="b" anchorCtr="0">
            <a:sp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a:solidFill>
                  <a:schemeClr val="tx1"/>
                </a:solidFill>
                <a:latin typeface="Yu Gothic UI" panose="020B0500000000000000" pitchFamily="50" charset="-128"/>
                <a:ea typeface="Yu Gothic UI" panose="020B0500000000000000" pitchFamily="50" charset="-128"/>
                <a:cs typeface="+mn-cs"/>
                <a:sym typeface="Yu Gothic UI" panose="020B0500000000000000" pitchFamily="50" charset="-128"/>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a:solidFill>
                  <a:schemeClr val="bg1"/>
                </a:solidFill>
                <a:latin typeface="Yu Gothic UI" panose="020B0500000000000000" pitchFamily="50" charset="-128"/>
                <a:ea typeface="Yu Gothic UI" panose="020B0500000000000000" pitchFamily="50" charset="-128"/>
                <a:cs typeface="+mn-cs"/>
                <a:sym typeface="Yu Gothic UI" panose="020B0500000000000000" pitchFamily="50" charset="-128"/>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a:solidFill>
                  <a:schemeClr val="bg1"/>
                </a:solidFill>
                <a:latin typeface="Yu Gothic UI" panose="020B0500000000000000" pitchFamily="50" charset="-128"/>
                <a:ea typeface="Yu Gothic UI" panose="020B0500000000000000" pitchFamily="50" charset="-128"/>
                <a:cs typeface="+mn-cs"/>
                <a:sym typeface="Yu Gothic UI" panose="020B0500000000000000" pitchFamily="50" charset="-128"/>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a:solidFill>
                  <a:schemeClr val="bg1"/>
                </a:solidFill>
                <a:latin typeface="Yu Gothic UI" panose="020B0500000000000000" pitchFamily="50" charset="-128"/>
                <a:ea typeface="Yu Gothic UI" panose="020B0500000000000000" pitchFamily="50" charset="-128"/>
                <a:cs typeface="+mn-cs"/>
                <a:sym typeface="Yu Gothic UI" panose="020B0500000000000000" pitchFamily="50" charset="-128"/>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a:solidFill>
                  <a:schemeClr val="bg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defTabSz="914390">
              <a:defRPr/>
            </a:pPr>
            <a:r>
              <a:rPr lang="en-US" altLang="ja-JP" sz="1292">
                <a:solidFill>
                  <a:sysClr val="windowText" lastClr="000000"/>
                </a:solidFill>
              </a:rPr>
              <a:t>2023</a:t>
            </a:r>
            <a:r>
              <a:rPr lang="ja-JP" altLang="en-US" sz="1292">
                <a:solidFill>
                  <a:sysClr val="windowText" lastClr="000000"/>
                </a:solidFill>
              </a:rPr>
              <a:t>年〇月〇日</a:t>
            </a:r>
          </a:p>
        </p:txBody>
      </p:sp>
      <p:sp>
        <p:nvSpPr>
          <p:cNvPr id="15" name="タイトル 2">
            <a:extLst>
              <a:ext uri="{FF2B5EF4-FFF2-40B4-BE49-F238E27FC236}">
                <a16:creationId xmlns:a16="http://schemas.microsoft.com/office/drawing/2014/main" id="{C00F9AD7-EB5D-4B3E-BD91-270E8DBC3B14}"/>
              </a:ext>
            </a:extLst>
          </p:cNvPr>
          <p:cNvSpPr txBox="1">
            <a:spLocks/>
          </p:cNvSpPr>
          <p:nvPr/>
        </p:nvSpPr>
        <p:spPr bwMode="gray">
          <a:xfrm>
            <a:off x="766478" y="4916078"/>
            <a:ext cx="4187077" cy="568203"/>
          </a:xfrm>
          <a:prstGeom prst="rect">
            <a:avLst/>
          </a:prstGeom>
        </p:spPr>
        <p:txBody>
          <a:bodyPr vert="horz" lIns="0" tIns="0" rIns="0" bIns="0" rtlCol="0" anchor="b" anchorCtr="0">
            <a:noAutofit/>
          </a:bodyPr>
          <a:lstStyle>
            <a:lvl1pPr algn="l" defTabSz="990564" rtl="0" eaLnBrk="1" latinLnBrk="0" hangingPunct="1">
              <a:lnSpc>
                <a:spcPct val="100000"/>
              </a:lnSpc>
              <a:spcBef>
                <a:spcPts val="0"/>
              </a:spcBef>
              <a:spcAft>
                <a:spcPts val="0"/>
              </a:spcAft>
              <a:buNone/>
              <a:defRPr kumimoji="1" sz="2000" b="1" kern="1200" baseline="0">
                <a:solidFill>
                  <a:schemeClr val="tx1"/>
                </a:solidFill>
                <a:latin typeface="Yu Gothic UI" panose="020B0500000000000000" pitchFamily="50" charset="-128"/>
                <a:ea typeface="Yu Gothic UI" panose="020B0500000000000000" pitchFamily="50" charset="-128"/>
                <a:cs typeface="+mj-cs"/>
                <a:sym typeface="Yu Gothic UI" panose="020B0500000000000000" pitchFamily="50" charset="-128"/>
              </a:defRPr>
            </a:lvl1pPr>
          </a:lstStyle>
          <a:p>
            <a:pPr defTabSz="914390">
              <a:defRPr/>
            </a:pPr>
            <a:r>
              <a:rPr lang="ja-JP" altLang="en-US" sz="1846">
                <a:solidFill>
                  <a:sysClr val="windowText" lastClr="000000"/>
                </a:solidFill>
              </a:rPr>
              <a:t>（プロジェクト名）</a:t>
            </a:r>
          </a:p>
        </p:txBody>
      </p:sp>
      <p:sp>
        <p:nvSpPr>
          <p:cNvPr id="17" name="Text Box 9">
            <a:extLst>
              <a:ext uri="{FF2B5EF4-FFF2-40B4-BE49-F238E27FC236}">
                <a16:creationId xmlns:a16="http://schemas.microsoft.com/office/drawing/2014/main" id="{37DAD15A-F910-48DD-9CBC-0391EAFE7308}"/>
              </a:ext>
            </a:extLst>
          </p:cNvPr>
          <p:cNvSpPr txBox="1">
            <a:spLocks noChangeArrowheads="1"/>
          </p:cNvSpPr>
          <p:nvPr/>
        </p:nvSpPr>
        <p:spPr bwMode="gray">
          <a:xfrm>
            <a:off x="766477" y="5979463"/>
            <a:ext cx="990656" cy="198837"/>
          </a:xfrm>
          <a:prstGeom prst="rect">
            <a:avLst/>
          </a:prstGeom>
          <a:noFill/>
          <a:ln w="12700" cap="rnd" algn="ctr">
            <a:noFill/>
            <a:miter lim="800000"/>
            <a:headEnd/>
            <a:tailEnd/>
          </a:ln>
          <a:effectLst/>
        </p:spPr>
        <p:txBody>
          <a:bodyPr wrap="none" lIns="0" tIns="0" rIns="0" bIns="0">
            <a:spAutoFit/>
          </a:bodyPr>
          <a:lstStyle/>
          <a:p>
            <a:r>
              <a:rPr lang="ja-JP" altLang="en-US" sz="1292">
                <a:solidFill>
                  <a:srgbClr val="000000"/>
                </a:solidFill>
                <a:latin typeface="Yu Gothic UI" panose="020B0500000000000000" pitchFamily="50" charset="-128"/>
                <a:ea typeface="Yu Gothic UI" panose="020B0500000000000000" pitchFamily="50" charset="-128"/>
                <a:sym typeface="Yu Gothic UI" panose="020B0500000000000000" pitchFamily="50" charset="-128"/>
              </a:rPr>
              <a:t>（提案者名）</a:t>
            </a:r>
            <a:endParaRPr lang="en-US" altLang="ja-JP" sz="1292">
              <a:solidFill>
                <a:srgbClr val="000000"/>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8" name="テキスト ボックス 17">
            <a:extLst>
              <a:ext uri="{FF2B5EF4-FFF2-40B4-BE49-F238E27FC236}">
                <a16:creationId xmlns:a16="http://schemas.microsoft.com/office/drawing/2014/main" id="{D3ECE14D-1BB0-44A5-990E-D66E372ABA07}"/>
              </a:ext>
            </a:extLst>
          </p:cNvPr>
          <p:cNvSpPr txBox="1"/>
          <p:nvPr/>
        </p:nvSpPr>
        <p:spPr bwMode="gray">
          <a:xfrm>
            <a:off x="4488760" y="5780643"/>
            <a:ext cx="4652308" cy="596510"/>
          </a:xfrm>
          <a:prstGeom prst="rect">
            <a:avLst/>
          </a:prstGeom>
          <a:noFill/>
        </p:spPr>
        <p:txBody>
          <a:bodyPr wrap="square" lIns="0" tIns="0" rIns="0" bIns="0" rtlCol="0" anchor="ctr">
            <a:spAutoFit/>
          </a:bodyPr>
          <a:lstStyle/>
          <a:p>
            <a:pPr defTabSz="914390">
              <a:buSzPct val="100000"/>
            </a:pP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〇〇〇</a:t>
            </a:r>
            <a:r>
              <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〇〇〇〇（住所）</a:t>
            </a:r>
            <a:endPar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代表者（代表者名）</a:t>
            </a:r>
            <a:endPar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担当者 （担当者名）</a:t>
            </a:r>
            <a:r>
              <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担当者電話番号・メールアドレス</a:t>
            </a:r>
            <a:r>
              <a:rPr kumimoji="1" lang="en-US" altLang="ja-JP"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endPar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24537854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A3220A8B-96B0-434F-8BC8-4D321C80687D}"/>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の事業期間中</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各年度ごとに、分科会プロジェクト全体として設定する</a:t>
            </a: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KPI</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の成果目標・検証項目、検証方法</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628650" marR="0" lvl="2" indent="-285750" algn="l" defTabSz="914400" rtl="0" eaLnBrk="1" fontAlgn="base" latinLnBrk="0" hangingPunct="1">
              <a:lnSpc>
                <a:spcPct val="100000"/>
              </a:lnSpc>
              <a:spcBef>
                <a:spcPts val="396"/>
              </a:spcBef>
              <a:spcAft>
                <a:spcPct val="0"/>
              </a:spcAft>
              <a:buClrTx/>
              <a:buSzTx/>
              <a:buFont typeface="Wingdings" panose="05000000000000000000" pitchFamily="2" charset="2"/>
              <a:buChar char="ü"/>
              <a:tabLst/>
              <a:defRPr/>
            </a:pP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募集要領の</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P.6</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西新宿での都市実装」の定義を踏まえ、プロジェクト期間内の成果目標・検証項目に①実施期間、②サービス利用者数、③都民による継続的利用への意向と、④には事業蓋然性に関する設定</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KGI/KPI(※</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取組の性質上、分科会</a:t>
            </a: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プロジェクト統一</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での設定が難しい場合、記入不要</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を含め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1747878349"/>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graphicFrame>
        <p:nvGraphicFramePr>
          <p:cNvPr id="9" name="表 8">
            <a:extLst>
              <a:ext uri="{FF2B5EF4-FFF2-40B4-BE49-F238E27FC236}">
                <a16:creationId xmlns:a16="http://schemas.microsoft.com/office/drawing/2014/main" id="{D1AE6EC8-8DAC-4CAC-A4FA-CB3984753D44}"/>
              </a:ext>
            </a:extLst>
          </p:cNvPr>
          <p:cNvGraphicFramePr>
            <a:graphicFrameLocks noGrp="1"/>
          </p:cNvGraphicFramePr>
          <p:nvPr>
            <p:extLst>
              <p:ext uri="{D42A27DB-BD31-4B8C-83A1-F6EECF244321}">
                <p14:modId xmlns:p14="http://schemas.microsoft.com/office/powerpoint/2010/main" val="1066378350"/>
              </p:ext>
            </p:extLst>
          </p:nvPr>
        </p:nvGraphicFramePr>
        <p:xfrm>
          <a:off x="415923" y="2895537"/>
          <a:ext cx="4343619" cy="116352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走行時間のログ</a:t>
                      </a:r>
                      <a:br>
                        <a:rPr kumimoji="1" lang="en-US" altLang="ja-JP" sz="1200" b="0" i="0" u="none" strike="noStrike" kern="1200" cap="none" spc="0" normalizeH="0" baseline="0" noProof="0">
                          <a:ln>
                            <a:noFill/>
                          </a:ln>
                          <a:solidFill>
                            <a:prstClr val="black"/>
                          </a:solidFill>
                          <a:effectLst/>
                          <a:uLnTx/>
                          <a:uFillTx/>
                          <a:latin typeface="+mn-lt"/>
                          <a:ea typeface="+mn-ea"/>
                          <a:cs typeface="Arial" charset="0"/>
                        </a:rPr>
                      </a:b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計測</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例）</a:t>
                      </a: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100</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時間</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sp>
        <p:nvSpPr>
          <p:cNvPr id="12" name="正方形/長方形 11">
            <a:extLst>
              <a:ext uri="{FF2B5EF4-FFF2-40B4-BE49-F238E27FC236}">
                <a16:creationId xmlns:a16="http://schemas.microsoft.com/office/drawing/2014/main" id="{6615A87E-A8CD-4B3E-8AD8-1C1EE095FB9A}"/>
              </a:ext>
            </a:extLst>
          </p:cNvPr>
          <p:cNvSpPr/>
          <p:nvPr/>
        </p:nvSpPr>
        <p:spPr>
          <a:xfrm>
            <a:off x="383932" y="2594207"/>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①実施期間</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正方形/長方形 12">
            <a:extLst>
              <a:ext uri="{FF2B5EF4-FFF2-40B4-BE49-F238E27FC236}">
                <a16:creationId xmlns:a16="http://schemas.microsoft.com/office/drawing/2014/main" id="{E46BB9D9-49D3-4F98-8CE2-149ACCCA6BBD}"/>
              </a:ext>
            </a:extLst>
          </p:cNvPr>
          <p:cNvSpPr/>
          <p:nvPr/>
        </p:nvSpPr>
        <p:spPr>
          <a:xfrm>
            <a:off x="383932" y="4581330"/>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②サービス利用者数</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4" name="正方形/長方形 13">
            <a:extLst>
              <a:ext uri="{FF2B5EF4-FFF2-40B4-BE49-F238E27FC236}">
                <a16:creationId xmlns:a16="http://schemas.microsoft.com/office/drawing/2014/main" id="{AFD48EAC-7301-4348-BFA2-35D1B89A5205}"/>
              </a:ext>
            </a:extLst>
          </p:cNvPr>
          <p:cNvSpPr/>
          <p:nvPr/>
        </p:nvSpPr>
        <p:spPr>
          <a:xfrm>
            <a:off x="5048051" y="2594207"/>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③都民による継続的利用への意向</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6" name="正方形/長方形 15">
            <a:extLst>
              <a:ext uri="{FF2B5EF4-FFF2-40B4-BE49-F238E27FC236}">
                <a16:creationId xmlns:a16="http://schemas.microsoft.com/office/drawing/2014/main" id="{FEFB3204-3214-4329-A500-6C8EE7D9D8EA}"/>
              </a:ext>
            </a:extLst>
          </p:cNvPr>
          <p:cNvSpPr/>
          <p:nvPr/>
        </p:nvSpPr>
        <p:spPr>
          <a:xfrm>
            <a:off x="5100393" y="4581330"/>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④リピート率</a:t>
            </a:r>
            <a:r>
              <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例</a:t>
            </a:r>
            <a:r>
              <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a:t>
            </a:r>
          </a:p>
        </p:txBody>
      </p:sp>
      <p:sp>
        <p:nvSpPr>
          <p:cNvPr id="17" name="テキスト ボックス 16">
            <a:extLst>
              <a:ext uri="{FF2B5EF4-FFF2-40B4-BE49-F238E27FC236}">
                <a16:creationId xmlns:a16="http://schemas.microsoft.com/office/drawing/2014/main" id="{DEF1B152-D47B-4FC5-BFD1-F53D6F0BF529}"/>
              </a:ext>
            </a:extLst>
          </p:cNvPr>
          <p:cNvSpPr txBox="1"/>
          <p:nvPr/>
        </p:nvSpPr>
        <p:spPr>
          <a:xfrm rot="20118198">
            <a:off x="3186920" y="3895379"/>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
        <p:nvSpPr>
          <p:cNvPr id="20" name="正方形/長方形 19">
            <a:extLst>
              <a:ext uri="{FF2B5EF4-FFF2-40B4-BE49-F238E27FC236}">
                <a16:creationId xmlns:a16="http://schemas.microsoft.com/office/drawing/2014/main" id="{67DB4E5E-7E08-4430-AF16-544269D25EF8}"/>
              </a:ext>
            </a:extLst>
          </p:cNvPr>
          <p:cNvSpPr/>
          <p:nvPr/>
        </p:nvSpPr>
        <p:spPr bwMode="gray">
          <a:xfrm>
            <a:off x="415925" y="2174131"/>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成果目標・検証項目、検証方法</a:t>
            </a:r>
          </a:p>
        </p:txBody>
      </p:sp>
      <p:cxnSp>
        <p:nvCxnSpPr>
          <p:cNvPr id="21" name="直線コネクタ 20">
            <a:extLst>
              <a:ext uri="{FF2B5EF4-FFF2-40B4-BE49-F238E27FC236}">
                <a16:creationId xmlns:a16="http://schemas.microsoft.com/office/drawing/2014/main" id="{74FFBE4B-ACEE-46BA-970D-E0091FB96818}"/>
              </a:ext>
            </a:extLst>
          </p:cNvPr>
          <p:cNvCxnSpPr>
            <a:cxnSpLocks/>
          </p:cNvCxnSpPr>
          <p:nvPr/>
        </p:nvCxnSpPr>
        <p:spPr bwMode="gray">
          <a:xfrm>
            <a:off x="415925" y="2534131"/>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19" name="表 18">
            <a:extLst>
              <a:ext uri="{FF2B5EF4-FFF2-40B4-BE49-F238E27FC236}">
                <a16:creationId xmlns:a16="http://schemas.microsoft.com/office/drawing/2014/main" id="{10C6FE56-590D-448C-8389-E2F145DE34E5}"/>
              </a:ext>
            </a:extLst>
          </p:cNvPr>
          <p:cNvGraphicFramePr>
            <a:graphicFrameLocks noGrp="1"/>
          </p:cNvGraphicFramePr>
          <p:nvPr>
            <p:extLst>
              <p:ext uri="{D42A27DB-BD31-4B8C-83A1-F6EECF244321}">
                <p14:modId xmlns:p14="http://schemas.microsoft.com/office/powerpoint/2010/main" val="3456703169"/>
              </p:ext>
            </p:extLst>
          </p:nvPr>
        </p:nvGraphicFramePr>
        <p:xfrm>
          <a:off x="5094114" y="2895537"/>
          <a:ext cx="4343619" cy="98064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graphicFrame>
        <p:nvGraphicFramePr>
          <p:cNvPr id="23" name="表 22">
            <a:extLst>
              <a:ext uri="{FF2B5EF4-FFF2-40B4-BE49-F238E27FC236}">
                <a16:creationId xmlns:a16="http://schemas.microsoft.com/office/drawing/2014/main" id="{EFA4CD1D-0F97-4861-9490-96727307B059}"/>
              </a:ext>
            </a:extLst>
          </p:cNvPr>
          <p:cNvGraphicFramePr>
            <a:graphicFrameLocks noGrp="1"/>
          </p:cNvGraphicFramePr>
          <p:nvPr>
            <p:extLst>
              <p:ext uri="{D42A27DB-BD31-4B8C-83A1-F6EECF244321}">
                <p14:modId xmlns:p14="http://schemas.microsoft.com/office/powerpoint/2010/main" val="2870753419"/>
              </p:ext>
            </p:extLst>
          </p:nvPr>
        </p:nvGraphicFramePr>
        <p:xfrm>
          <a:off x="415923" y="4888222"/>
          <a:ext cx="4343619" cy="98064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graphicFrame>
        <p:nvGraphicFramePr>
          <p:cNvPr id="24" name="表 23">
            <a:extLst>
              <a:ext uri="{FF2B5EF4-FFF2-40B4-BE49-F238E27FC236}">
                <a16:creationId xmlns:a16="http://schemas.microsoft.com/office/drawing/2014/main" id="{2EF39B4A-E501-4611-A44C-D84D20B4DD4D}"/>
              </a:ext>
            </a:extLst>
          </p:cNvPr>
          <p:cNvGraphicFramePr>
            <a:graphicFrameLocks noGrp="1"/>
          </p:cNvGraphicFramePr>
          <p:nvPr>
            <p:extLst>
              <p:ext uri="{D42A27DB-BD31-4B8C-83A1-F6EECF244321}">
                <p14:modId xmlns:p14="http://schemas.microsoft.com/office/powerpoint/2010/main" val="1738539562"/>
              </p:ext>
            </p:extLst>
          </p:nvPr>
        </p:nvGraphicFramePr>
        <p:xfrm>
          <a:off x="5094114" y="4888222"/>
          <a:ext cx="4343619" cy="980640"/>
        </p:xfrm>
        <a:graphic>
          <a:graphicData uri="http://schemas.openxmlformats.org/drawingml/2006/table">
            <a:tbl>
              <a:tblPr firstRow="1" bandRow="1">
                <a:tableStyleId>{5C22544A-7EE6-4342-B048-85BDC9FD1C3A}</a:tableStyleId>
              </a:tblPr>
              <a:tblGrid>
                <a:gridCol w="1000985">
                  <a:extLst>
                    <a:ext uri="{9D8B030D-6E8A-4147-A177-3AD203B41FA5}">
                      <a16:colId xmlns:a16="http://schemas.microsoft.com/office/drawing/2014/main" val="2823891610"/>
                    </a:ext>
                  </a:extLst>
                </a:gridCol>
                <a:gridCol w="1671317">
                  <a:extLst>
                    <a:ext uri="{9D8B030D-6E8A-4147-A177-3AD203B41FA5}">
                      <a16:colId xmlns:a16="http://schemas.microsoft.com/office/drawing/2014/main" val="2591250921"/>
                    </a:ext>
                  </a:extLst>
                </a:gridCol>
                <a:gridCol w="167131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bl>
          </a:graphicData>
        </a:graphic>
      </p:graphicFrame>
    </p:spTree>
    <p:extLst>
      <p:ext uri="{BB962C8B-B14F-4D97-AF65-F5344CB8AC3E}">
        <p14:creationId xmlns:p14="http://schemas.microsoft.com/office/powerpoint/2010/main" val="180363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A3220A8B-96B0-434F-8BC8-4D321C80687D}"/>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の事業期間中</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各年度ごとに、分科会内で実施する個別プロジェクトの内容</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先端サービスの内容</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の成果目標・検証項目、検証方法</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628650" marR="0" lvl="2" indent="-285750" algn="l" defTabSz="914400" rtl="0" eaLnBrk="1" fontAlgn="base" latinLnBrk="0" hangingPunct="1">
              <a:lnSpc>
                <a:spcPct val="100000"/>
              </a:lnSpc>
              <a:spcBef>
                <a:spcPts val="396"/>
              </a:spcBef>
              <a:spcAft>
                <a:spcPct val="0"/>
              </a:spcAft>
              <a:buClrTx/>
              <a:buSzTx/>
              <a:buFont typeface="Wingdings" panose="05000000000000000000" pitchFamily="2" charset="2"/>
              <a:buChar char="ü"/>
              <a:tabLst/>
              <a:defRPr/>
            </a:pP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募集要領の</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P.6</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西新宿での都市実装」の定義を踏まえ、プロジェクト期間内の成果目標・検証項目に①実施期間、②サービス利用者数、③都民による継続的利用への意向と、④には事業蓋然性に関する設定</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KGI/KPI(※</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取組の性質上、</a:t>
            </a:r>
            <a:r>
              <a:rPr kumimoji="1" lang="ja-JP" altLang="en-US" sz="1292">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プロジェクト</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単体での費用回収を見込んでいない場合</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例：基盤システム</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記入不要</a:t>
            </a:r>
            <a:r>
              <a:rPr kumimoji="1" lang="en-US" altLang="ja-JP"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a:t>
            </a:r>
            <a:r>
              <a:rPr kumimoji="1" lang="ja-JP" altLang="en-US" sz="1292"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を含め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2032847093"/>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0</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8" name="正方形/長方形 17">
            <a:extLst>
              <a:ext uri="{FF2B5EF4-FFF2-40B4-BE49-F238E27FC236}">
                <a16:creationId xmlns:a16="http://schemas.microsoft.com/office/drawing/2014/main" id="{6D1729BB-0EB1-4078-B6C7-36865C66E1B4}"/>
              </a:ext>
            </a:extLst>
          </p:cNvPr>
          <p:cNvSpPr/>
          <p:nvPr/>
        </p:nvSpPr>
        <p:spPr bwMode="gray">
          <a:xfrm>
            <a:off x="415925" y="2320728"/>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サービス内容</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19" name="直線コネクタ 18">
            <a:extLst>
              <a:ext uri="{FF2B5EF4-FFF2-40B4-BE49-F238E27FC236}">
                <a16:creationId xmlns:a16="http://schemas.microsoft.com/office/drawing/2014/main" id="{77CC8FD1-B29B-4261-9498-CE4394400580}"/>
              </a:ext>
            </a:extLst>
          </p:cNvPr>
          <p:cNvCxnSpPr>
            <a:cxnSpLocks/>
          </p:cNvCxnSpPr>
          <p:nvPr/>
        </p:nvCxnSpPr>
        <p:spPr bwMode="gray">
          <a:xfrm>
            <a:off x="415925" y="2680728"/>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7E424736-C581-4FE2-B644-E8F4902F00CF}"/>
              </a:ext>
            </a:extLst>
          </p:cNvPr>
          <p:cNvSpPr/>
          <p:nvPr/>
        </p:nvSpPr>
        <p:spPr bwMode="gray">
          <a:xfrm>
            <a:off x="1246909" y="2754885"/>
            <a:ext cx="8241016" cy="117057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A1D5FDF9-9DA0-4F3A-A553-1CC77C647182}"/>
              </a:ext>
            </a:extLst>
          </p:cNvPr>
          <p:cNvSpPr/>
          <p:nvPr/>
        </p:nvSpPr>
        <p:spPr bwMode="gray">
          <a:xfrm>
            <a:off x="415925" y="2754885"/>
            <a:ext cx="752579" cy="1170579"/>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
        <p:nvSpPr>
          <p:cNvPr id="33" name="正方形/長方形 32">
            <a:extLst>
              <a:ext uri="{FF2B5EF4-FFF2-40B4-BE49-F238E27FC236}">
                <a16:creationId xmlns:a16="http://schemas.microsoft.com/office/drawing/2014/main" id="{76927A0D-5E79-4B04-9EE8-78695961B199}"/>
              </a:ext>
            </a:extLst>
          </p:cNvPr>
          <p:cNvSpPr/>
          <p:nvPr/>
        </p:nvSpPr>
        <p:spPr bwMode="gray">
          <a:xfrm>
            <a:off x="1246909" y="3999486"/>
            <a:ext cx="8241016" cy="117057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ABEB530B-5F88-4117-BE64-B2BCDC9AC0C1}"/>
              </a:ext>
            </a:extLst>
          </p:cNvPr>
          <p:cNvSpPr/>
          <p:nvPr/>
        </p:nvSpPr>
        <p:spPr bwMode="gray">
          <a:xfrm>
            <a:off x="1246909" y="5244087"/>
            <a:ext cx="8241016" cy="117057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10A6567C-8356-4428-9E96-54840877C2E1}"/>
              </a:ext>
            </a:extLst>
          </p:cNvPr>
          <p:cNvSpPr/>
          <p:nvPr/>
        </p:nvSpPr>
        <p:spPr bwMode="gray">
          <a:xfrm>
            <a:off x="415925" y="3999486"/>
            <a:ext cx="752579" cy="1170579"/>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a:t>
            </a:r>
            <a:r>
              <a:rPr kumimoji="1" lang="ja-JP" altLang="en-US" sz="1100" b="1">
                <a:latin typeface="+mn-lt"/>
                <a:cs typeface="+mn-cs"/>
              </a:rPr>
              <a:t> </a:t>
            </a:r>
            <a:r>
              <a:rPr kumimoji="1" lang="en-US" altLang="ja-JP" sz="1100" b="1">
                <a:latin typeface="+mn-lt"/>
                <a:cs typeface="+mn-cs"/>
              </a:rPr>
              <a:t>A</a:t>
            </a:r>
          </a:p>
        </p:txBody>
      </p:sp>
      <p:sp>
        <p:nvSpPr>
          <p:cNvPr id="38" name="正方形/長方形 37">
            <a:extLst>
              <a:ext uri="{FF2B5EF4-FFF2-40B4-BE49-F238E27FC236}">
                <a16:creationId xmlns:a16="http://schemas.microsoft.com/office/drawing/2014/main" id="{66E52931-5C50-4CA4-B676-AF6525A33930}"/>
              </a:ext>
            </a:extLst>
          </p:cNvPr>
          <p:cNvSpPr/>
          <p:nvPr/>
        </p:nvSpPr>
        <p:spPr bwMode="gray">
          <a:xfrm>
            <a:off x="415925" y="5244087"/>
            <a:ext cx="752579" cy="1170579"/>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a:t>
            </a:r>
            <a:r>
              <a:rPr kumimoji="1" lang="ja-JP" altLang="en-US" sz="1100" b="1">
                <a:latin typeface="+mn-lt"/>
                <a:cs typeface="+mn-cs"/>
              </a:rPr>
              <a:t> </a:t>
            </a:r>
            <a:r>
              <a:rPr kumimoji="1" lang="en-US" altLang="ja-JP" sz="1100" b="1">
                <a:latin typeface="+mn-lt"/>
                <a:cs typeface="+mn-cs"/>
              </a:rPr>
              <a:t>B</a:t>
            </a:r>
          </a:p>
        </p:txBody>
      </p:sp>
    </p:spTree>
    <p:extLst>
      <p:ext uri="{BB962C8B-B14F-4D97-AF65-F5344CB8AC3E}">
        <p14:creationId xmlns:p14="http://schemas.microsoft.com/office/powerpoint/2010/main" val="3112048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A3220A8B-96B0-434F-8BC8-4D321C80687D}"/>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a:spcBef>
                <a:spcPts val="396"/>
              </a:spcBef>
            </a:pP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23" name="正方形/長方形 22">
            <a:extLst>
              <a:ext uri="{FF2B5EF4-FFF2-40B4-BE49-F238E27FC236}">
                <a16:creationId xmlns:a16="http://schemas.microsoft.com/office/drawing/2014/main" id="{A1D5FDF9-9DA0-4F3A-A553-1CC77C647182}"/>
              </a:ext>
            </a:extLst>
          </p:cNvPr>
          <p:cNvSpPr/>
          <p:nvPr/>
        </p:nvSpPr>
        <p:spPr bwMode="gray">
          <a:xfrm>
            <a:off x="415925" y="582775"/>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
        <p:nvSpPr>
          <p:cNvPr id="11" name="正方形/長方形 10">
            <a:extLst>
              <a:ext uri="{FF2B5EF4-FFF2-40B4-BE49-F238E27FC236}">
                <a16:creationId xmlns:a16="http://schemas.microsoft.com/office/drawing/2014/main" id="{02DE354F-659D-452A-B452-81E7F1D13DB0}"/>
              </a:ext>
            </a:extLst>
          </p:cNvPr>
          <p:cNvSpPr/>
          <p:nvPr/>
        </p:nvSpPr>
        <p:spPr>
          <a:xfrm>
            <a:off x="383932" y="1002851"/>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①実施期間</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2" name="正方形/長方形 11">
            <a:extLst>
              <a:ext uri="{FF2B5EF4-FFF2-40B4-BE49-F238E27FC236}">
                <a16:creationId xmlns:a16="http://schemas.microsoft.com/office/drawing/2014/main" id="{572FED04-C66E-44D0-9E47-E97A67D4FE80}"/>
              </a:ext>
            </a:extLst>
          </p:cNvPr>
          <p:cNvSpPr/>
          <p:nvPr/>
        </p:nvSpPr>
        <p:spPr>
          <a:xfrm>
            <a:off x="383932" y="3775065"/>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②サービス利用者数</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正方形/長方形 12">
            <a:extLst>
              <a:ext uri="{FF2B5EF4-FFF2-40B4-BE49-F238E27FC236}">
                <a16:creationId xmlns:a16="http://schemas.microsoft.com/office/drawing/2014/main" id="{8FB4151F-9694-4DC6-824E-D335FB04B89E}"/>
              </a:ext>
            </a:extLst>
          </p:cNvPr>
          <p:cNvSpPr/>
          <p:nvPr/>
        </p:nvSpPr>
        <p:spPr>
          <a:xfrm>
            <a:off x="5048051" y="1002851"/>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③都民による継続的利用への意向</a:t>
            </a:r>
            <a:endPar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4" name="正方形/長方形 13">
            <a:extLst>
              <a:ext uri="{FF2B5EF4-FFF2-40B4-BE49-F238E27FC236}">
                <a16:creationId xmlns:a16="http://schemas.microsoft.com/office/drawing/2014/main" id="{74625B7A-FF01-4A8A-9B2B-A0C522C884E0}"/>
              </a:ext>
            </a:extLst>
          </p:cNvPr>
          <p:cNvSpPr/>
          <p:nvPr/>
        </p:nvSpPr>
        <p:spPr>
          <a:xfrm>
            <a:off x="5100393" y="3775065"/>
            <a:ext cx="4389682"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④リピート率</a:t>
            </a:r>
            <a:r>
              <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例</a:t>
            </a:r>
            <a:r>
              <a:rPr kumimoji="1" lang="en-US" altLang="ja-JP" sz="1292" b="1">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rPr>
              <a:t>)</a:t>
            </a:r>
          </a:p>
        </p:txBody>
      </p:sp>
      <p:sp>
        <p:nvSpPr>
          <p:cNvPr id="15" name="テキスト ボックス 14">
            <a:extLst>
              <a:ext uri="{FF2B5EF4-FFF2-40B4-BE49-F238E27FC236}">
                <a16:creationId xmlns:a16="http://schemas.microsoft.com/office/drawing/2014/main" id="{A625C7D5-1229-417D-84BF-A1C4E8373E70}"/>
              </a:ext>
            </a:extLst>
          </p:cNvPr>
          <p:cNvSpPr txBox="1"/>
          <p:nvPr/>
        </p:nvSpPr>
        <p:spPr>
          <a:xfrm rot="20118198">
            <a:off x="3254185" y="3421018"/>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
        <p:nvSpPr>
          <p:cNvPr id="24" name="正方形/長方形 23">
            <a:extLst>
              <a:ext uri="{FF2B5EF4-FFF2-40B4-BE49-F238E27FC236}">
                <a16:creationId xmlns:a16="http://schemas.microsoft.com/office/drawing/2014/main" id="{AF346B92-5546-4A0F-83F3-19448BE06FDF}"/>
              </a:ext>
            </a:extLst>
          </p:cNvPr>
          <p:cNvSpPr/>
          <p:nvPr/>
        </p:nvSpPr>
        <p:spPr bwMode="gray">
          <a:xfrm>
            <a:off x="415925" y="582775"/>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成果目標・検証項目、検証方法</a:t>
            </a:r>
          </a:p>
        </p:txBody>
      </p:sp>
      <p:cxnSp>
        <p:nvCxnSpPr>
          <p:cNvPr id="25" name="直線コネクタ 24">
            <a:extLst>
              <a:ext uri="{FF2B5EF4-FFF2-40B4-BE49-F238E27FC236}">
                <a16:creationId xmlns:a16="http://schemas.microsoft.com/office/drawing/2014/main" id="{E8C70B7F-C34E-476F-9829-2D78701E02B6}"/>
              </a:ext>
            </a:extLst>
          </p:cNvPr>
          <p:cNvCxnSpPr>
            <a:cxnSpLocks/>
          </p:cNvCxnSpPr>
          <p:nvPr/>
        </p:nvCxnSpPr>
        <p:spPr bwMode="gray">
          <a:xfrm>
            <a:off x="415925" y="942775"/>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31" name="表 30">
            <a:extLst>
              <a:ext uri="{FF2B5EF4-FFF2-40B4-BE49-F238E27FC236}">
                <a16:creationId xmlns:a16="http://schemas.microsoft.com/office/drawing/2014/main" id="{EDD50A86-7C1C-4B04-AE7F-1A9F1DF23F35}"/>
              </a:ext>
            </a:extLst>
          </p:cNvPr>
          <p:cNvGraphicFramePr>
            <a:graphicFrameLocks noGrp="1"/>
          </p:cNvGraphicFramePr>
          <p:nvPr>
            <p:extLst>
              <p:ext uri="{D42A27DB-BD31-4B8C-83A1-F6EECF244321}">
                <p14:modId xmlns:p14="http://schemas.microsoft.com/office/powerpoint/2010/main" val="1337371931"/>
              </p:ext>
            </p:extLst>
          </p:nvPr>
        </p:nvGraphicFramePr>
        <p:xfrm>
          <a:off x="461988" y="1304181"/>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graphicFrame>
        <p:nvGraphicFramePr>
          <p:cNvPr id="34" name="表 33">
            <a:extLst>
              <a:ext uri="{FF2B5EF4-FFF2-40B4-BE49-F238E27FC236}">
                <a16:creationId xmlns:a16="http://schemas.microsoft.com/office/drawing/2014/main" id="{82157E3D-CAA6-4AAA-8555-6372FC3B2939}"/>
              </a:ext>
            </a:extLst>
          </p:cNvPr>
          <p:cNvGraphicFramePr>
            <a:graphicFrameLocks noGrp="1"/>
          </p:cNvGraphicFramePr>
          <p:nvPr>
            <p:extLst>
              <p:ext uri="{D42A27DB-BD31-4B8C-83A1-F6EECF244321}">
                <p14:modId xmlns:p14="http://schemas.microsoft.com/office/powerpoint/2010/main" val="2776509888"/>
              </p:ext>
            </p:extLst>
          </p:nvPr>
        </p:nvGraphicFramePr>
        <p:xfrm>
          <a:off x="5100393" y="1304181"/>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graphicFrame>
        <p:nvGraphicFramePr>
          <p:cNvPr id="35" name="表 34">
            <a:extLst>
              <a:ext uri="{FF2B5EF4-FFF2-40B4-BE49-F238E27FC236}">
                <a16:creationId xmlns:a16="http://schemas.microsoft.com/office/drawing/2014/main" id="{C3EDBEC7-92C5-4069-B263-D24FFCB340D9}"/>
              </a:ext>
            </a:extLst>
          </p:cNvPr>
          <p:cNvGraphicFramePr>
            <a:graphicFrameLocks noGrp="1"/>
          </p:cNvGraphicFramePr>
          <p:nvPr>
            <p:extLst>
              <p:ext uri="{D42A27DB-BD31-4B8C-83A1-F6EECF244321}">
                <p14:modId xmlns:p14="http://schemas.microsoft.com/office/powerpoint/2010/main" val="4291325122"/>
              </p:ext>
            </p:extLst>
          </p:nvPr>
        </p:nvGraphicFramePr>
        <p:xfrm>
          <a:off x="5100393" y="4092052"/>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graphicFrame>
        <p:nvGraphicFramePr>
          <p:cNvPr id="36" name="表 35">
            <a:extLst>
              <a:ext uri="{FF2B5EF4-FFF2-40B4-BE49-F238E27FC236}">
                <a16:creationId xmlns:a16="http://schemas.microsoft.com/office/drawing/2014/main" id="{19944987-8C4B-4C8C-A26E-FD4A685E5692}"/>
              </a:ext>
            </a:extLst>
          </p:cNvPr>
          <p:cNvGraphicFramePr>
            <a:graphicFrameLocks noGrp="1"/>
          </p:cNvGraphicFramePr>
          <p:nvPr>
            <p:extLst>
              <p:ext uri="{D42A27DB-BD31-4B8C-83A1-F6EECF244321}">
                <p14:modId xmlns:p14="http://schemas.microsoft.com/office/powerpoint/2010/main" val="2205866220"/>
              </p:ext>
            </p:extLst>
          </p:nvPr>
        </p:nvGraphicFramePr>
        <p:xfrm>
          <a:off x="461988" y="4092052"/>
          <a:ext cx="4311626" cy="2288160"/>
        </p:xfrm>
        <a:graphic>
          <a:graphicData uri="http://schemas.openxmlformats.org/drawingml/2006/table">
            <a:tbl>
              <a:tblPr firstRow="1" bandRow="1">
                <a:tableStyleId>{5C22544A-7EE6-4342-B048-85BDC9FD1C3A}</a:tableStyleId>
              </a:tblPr>
              <a:tblGrid>
                <a:gridCol w="554012">
                  <a:extLst>
                    <a:ext uri="{9D8B030D-6E8A-4147-A177-3AD203B41FA5}">
                      <a16:colId xmlns:a16="http://schemas.microsoft.com/office/drawing/2014/main" val="3577714407"/>
                    </a:ext>
                  </a:extLst>
                </a:gridCol>
                <a:gridCol w="812800">
                  <a:extLst>
                    <a:ext uri="{9D8B030D-6E8A-4147-A177-3AD203B41FA5}">
                      <a16:colId xmlns:a16="http://schemas.microsoft.com/office/drawing/2014/main" val="2823891610"/>
                    </a:ext>
                  </a:extLst>
                </a:gridCol>
                <a:gridCol w="1472407">
                  <a:extLst>
                    <a:ext uri="{9D8B030D-6E8A-4147-A177-3AD203B41FA5}">
                      <a16:colId xmlns:a16="http://schemas.microsoft.com/office/drawing/2014/main" val="2591250921"/>
                    </a:ext>
                  </a:extLst>
                </a:gridCol>
                <a:gridCol w="1472407">
                  <a:extLst>
                    <a:ext uri="{9D8B030D-6E8A-4147-A177-3AD203B41FA5}">
                      <a16:colId xmlns:a16="http://schemas.microsoft.com/office/drawing/2014/main" val="1332847332"/>
                    </a:ext>
                  </a:extLst>
                </a:gridCol>
              </a:tblGrid>
              <a:tr h="183020">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3</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r>
                        <a:rPr kumimoji="1" lang="en-US" altLang="ja-JP" sz="1200" b="0" i="0" u="none" strike="noStrike" kern="1200" cap="none" spc="0" normalizeH="0" baseline="0" noProof="0">
                          <a:ln>
                            <a:noFill/>
                          </a:ln>
                          <a:solidFill>
                            <a:prstClr val="black"/>
                          </a:solidFill>
                          <a:effectLst/>
                          <a:uLnTx/>
                          <a:uFillTx/>
                          <a:latin typeface="+mn-lt"/>
                          <a:ea typeface="+mn-ea"/>
                          <a:cs typeface="Arial" charset="0"/>
                        </a:rPr>
                        <a:t>2024</a:t>
                      </a:r>
                      <a:r>
                        <a:rPr kumimoji="1" lang="ja-JP" altLang="en-US" sz="1200" b="0" i="0" u="none" strike="noStrike" kern="1200" cap="none" spc="0" normalizeH="0" baseline="0" noProof="0">
                          <a:ln>
                            <a:noFill/>
                          </a:ln>
                          <a:solidFill>
                            <a:prstClr val="black"/>
                          </a:solidFill>
                          <a:effectLst/>
                          <a:uLnTx/>
                          <a:uFillTx/>
                          <a:latin typeface="+mn-lt"/>
                          <a:ea typeface="+mn-ea"/>
                          <a:cs typeface="Arial" charset="0"/>
                        </a:rPr>
                        <a:t>年度</a:t>
                      </a: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5452804"/>
                  </a:ext>
                </a:extLst>
              </a:tr>
              <a:tr h="183020">
                <a:tc rowSpan="2">
                  <a:txBody>
                    <a:bodyPr/>
                    <a:lstStyle/>
                    <a:p>
                      <a:pPr algn="ctr" fontAlgn="ctr"/>
                      <a:r>
                        <a:rPr lang="ja-JP" altLang="en-US" sz="1200" b="0" i="0" u="none" strike="noStrike">
                          <a:solidFill>
                            <a:schemeClr val="accent5"/>
                          </a:solidFill>
                          <a:effectLst/>
                          <a:latin typeface="+mn-ea"/>
                          <a:ea typeface="+mn-ea"/>
                        </a:rPr>
                        <a:t>リーダー</a:t>
                      </a:r>
                      <a:r>
                        <a:rPr lang="en-US" altLang="ja-JP" sz="1200" b="0" i="0" u="none" strike="noStrike">
                          <a:solidFill>
                            <a:schemeClr val="accent5"/>
                          </a:solidFill>
                          <a:effectLst/>
                          <a:latin typeface="+mn-ea"/>
                          <a:ea typeface="+mn-ea"/>
                        </a:rPr>
                        <a:t>PJ</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36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9971547"/>
                  </a:ext>
                </a:extLst>
              </a:tr>
              <a:tr h="183020">
                <a:tc vMerge="1">
                  <a:txBody>
                    <a:bodyPr/>
                    <a:lstStyle/>
                    <a:p>
                      <a:pPr algn="l" fontAlgn="ctr"/>
                      <a:endParaRPr lang="ja-JP" altLang="en-US" sz="1200" b="0" i="0" u="none" strike="noStrike">
                        <a:solidFill>
                          <a:schemeClr val="accent5"/>
                        </a:solidFill>
                        <a:effectLst/>
                        <a:latin typeface="+mn-ea"/>
                        <a:ea typeface="+mn-ea"/>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5292694"/>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A</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5446700"/>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3947582"/>
                  </a:ext>
                </a:extLst>
              </a:tr>
              <a:tr h="183020">
                <a:tc rowSpan="2">
                  <a:txBody>
                    <a:bodyPr/>
                    <a:lstStyle/>
                    <a:p>
                      <a:pPr algn="ctr" fontAlgn="ctr"/>
                      <a:r>
                        <a:rPr lang="ja-JP" altLang="en-US" sz="1200" b="0" i="0" u="none" strike="noStrike">
                          <a:solidFill>
                            <a:schemeClr val="accent5"/>
                          </a:solidFill>
                          <a:effectLst/>
                          <a:latin typeface="+mn-ea"/>
                          <a:ea typeface="+mn-ea"/>
                        </a:rPr>
                        <a:t>構成員</a:t>
                      </a:r>
                      <a:endParaRPr lang="en-US" altLang="ja-JP" sz="1200" b="0" i="0" u="none" strike="noStrike">
                        <a:solidFill>
                          <a:schemeClr val="accent5"/>
                        </a:solidFill>
                        <a:effectLst/>
                        <a:latin typeface="+mn-ea"/>
                        <a:ea typeface="+mn-ea"/>
                      </a:endParaRPr>
                    </a:p>
                    <a:p>
                      <a:pPr algn="ctr" fontAlgn="ctr"/>
                      <a:r>
                        <a:rPr lang="en-US" altLang="ja-JP" sz="1200" b="0" i="0" u="none" strike="noStrike">
                          <a:solidFill>
                            <a:schemeClr val="accent5"/>
                          </a:solidFill>
                          <a:effectLst/>
                          <a:latin typeface="+mn-ea"/>
                          <a:ea typeface="+mn-ea"/>
                        </a:rPr>
                        <a:t>PJ B</a:t>
                      </a: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検証方法</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5830221"/>
                  </a:ext>
                </a:extLst>
              </a:tr>
              <a:tr h="183020">
                <a:tc vMerge="1">
                  <a:txBody>
                    <a:bodyPr/>
                    <a:lstStyle/>
                    <a:p>
                      <a:pPr algn="ctr" fontAlgn="ctr"/>
                      <a:endParaRPr lang="ja-JP" altLang="en-US" sz="1200" b="0" i="0" u="none" strike="noStrike">
                        <a:solidFill>
                          <a:schemeClr val="accent5"/>
                        </a:solidFill>
                        <a:effectLst/>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200" b="0" i="0" u="none" strike="noStrike">
                          <a:solidFill>
                            <a:schemeClr val="accent5"/>
                          </a:solidFill>
                          <a:effectLst/>
                          <a:latin typeface="+mn-ea"/>
                          <a:ea typeface="+mn-ea"/>
                        </a:rPr>
                        <a:t>目標値</a:t>
                      </a: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90564" rtl="0" eaLnBrk="1" fontAlgn="base" latinLnBrk="0" hangingPunct="1">
                        <a:lnSpc>
                          <a:spcPct val="100000"/>
                        </a:lnSpc>
                        <a:spcBef>
                          <a:spcPct val="0"/>
                        </a:spcBef>
                        <a:spcAft>
                          <a:spcPts val="300"/>
                        </a:spcAft>
                        <a:buClr>
                          <a:srgbClr val="00ABAB"/>
                        </a:buClr>
                        <a:buSzTx/>
                        <a:buFont typeface="Yu Gothic UI" panose="020B0500000000000000" pitchFamily="50" charset="-128"/>
                        <a:buNone/>
                        <a:tabLst/>
                        <a:defRPr/>
                      </a:pPr>
                      <a:endParaRPr kumimoji="1" lang="en-US" altLang="ja-JP" sz="1200" b="0" i="0" u="none" strike="noStrike" kern="1200" cap="none" spc="0" normalizeH="0" baseline="0" noProof="0">
                        <a:ln>
                          <a:noFill/>
                        </a:ln>
                        <a:solidFill>
                          <a:prstClr val="black"/>
                        </a:solidFill>
                        <a:effectLst/>
                        <a:uLnTx/>
                        <a:uFillTx/>
                        <a:latin typeface="+mn-lt"/>
                        <a:ea typeface="+mn-ea"/>
                        <a:cs typeface="Arial" charset="0"/>
                      </a:endParaRPr>
                    </a:p>
                  </a:txBody>
                  <a:tcPr marL="72000" marR="72000" marT="72000" marB="72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6614148"/>
                  </a:ext>
                </a:extLst>
              </a:tr>
            </a:tbl>
          </a:graphicData>
        </a:graphic>
      </p:graphicFrame>
    </p:spTree>
    <p:extLst>
      <p:ext uri="{BB962C8B-B14F-4D97-AF65-F5344CB8AC3E}">
        <p14:creationId xmlns:p14="http://schemas.microsoft.com/office/powerpoint/2010/main" val="26578917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a:extLst>
              <a:ext uri="{FF2B5EF4-FFF2-40B4-BE49-F238E27FC236}">
                <a16:creationId xmlns:a16="http://schemas.microsoft.com/office/drawing/2014/main" id="{C583AC29-FFDA-47D4-AB54-DDA276DB9339}"/>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分科会プロジェクト全体で実施する内容</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について、以下の点を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民に対してサービスの都市実装およびその成果を訴求するための具体的な取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他のスマートシティサービスと比較した際の先進性・革新性</a:t>
            </a:r>
            <a:b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b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国内初の取組、スタートアップとの連携、 スタンドアローン方式の利用、通信環境が整備されている都営大江戸線都庁前駅構内の活用など</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3402282789"/>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5. </a:t>
            </a:r>
            <a:r>
              <a:rPr lang="ja-JP" altLang="en-US"/>
              <a:t>分科会プロジェクト</a:t>
            </a:r>
            <a:r>
              <a:rPr lang="ja-JP" altLang="en-US">
                <a:latin typeface="Yu Gothic UI" panose="020B0500000000000000" pitchFamily="50" charset="-128"/>
                <a:ea typeface="Yu Gothic UI" panose="020B0500000000000000" pitchFamily="50" charset="-128"/>
                <a:sym typeface="Yu Gothic UI" panose="020B0500000000000000" pitchFamily="50" charset="-128"/>
              </a:rPr>
              <a:t>の内容</a:t>
            </a: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2</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3" name="正方形/長方形 22">
            <a:extLst>
              <a:ext uri="{FF2B5EF4-FFF2-40B4-BE49-F238E27FC236}">
                <a16:creationId xmlns:a16="http://schemas.microsoft.com/office/drawing/2014/main" id="{504DD1D0-2915-4F9F-BD37-FDAA34E1B072}"/>
              </a:ext>
            </a:extLst>
          </p:cNvPr>
          <p:cNvSpPr/>
          <p:nvPr/>
        </p:nvSpPr>
        <p:spPr bwMode="gray">
          <a:xfrm>
            <a:off x="415925" y="4158604"/>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サービスの先進性・革新性</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24" name="直線コネクタ 23">
            <a:extLst>
              <a:ext uri="{FF2B5EF4-FFF2-40B4-BE49-F238E27FC236}">
                <a16:creationId xmlns:a16="http://schemas.microsoft.com/office/drawing/2014/main" id="{AF72792F-E9FF-42D5-9EEE-E09E64D4E711}"/>
              </a:ext>
            </a:extLst>
          </p:cNvPr>
          <p:cNvCxnSpPr>
            <a:cxnSpLocks/>
          </p:cNvCxnSpPr>
          <p:nvPr/>
        </p:nvCxnSpPr>
        <p:spPr bwMode="gray">
          <a:xfrm>
            <a:off x="415925" y="5200394"/>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正方形/長方形 24">
            <a:extLst>
              <a:ext uri="{FF2B5EF4-FFF2-40B4-BE49-F238E27FC236}">
                <a16:creationId xmlns:a16="http://schemas.microsoft.com/office/drawing/2014/main" id="{758CBAE6-F947-41DE-9EB9-32F31218AC92}"/>
              </a:ext>
            </a:extLst>
          </p:cNvPr>
          <p:cNvSpPr/>
          <p:nvPr/>
        </p:nvSpPr>
        <p:spPr bwMode="gray">
          <a:xfrm>
            <a:off x="415925" y="4574281"/>
            <a:ext cx="9072000" cy="1449523"/>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FC392F22-C624-40E3-AA68-A538900D7E47}"/>
              </a:ext>
            </a:extLst>
          </p:cNvPr>
          <p:cNvSpPr/>
          <p:nvPr/>
        </p:nvSpPr>
        <p:spPr bwMode="gray">
          <a:xfrm>
            <a:off x="415925" y="2174055"/>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サービスの都市実装およびその成果訴求への取組</a:t>
            </a:r>
          </a:p>
        </p:txBody>
      </p:sp>
      <p:cxnSp>
        <p:nvCxnSpPr>
          <p:cNvPr id="27" name="直線コネクタ 26">
            <a:extLst>
              <a:ext uri="{FF2B5EF4-FFF2-40B4-BE49-F238E27FC236}">
                <a16:creationId xmlns:a16="http://schemas.microsoft.com/office/drawing/2014/main" id="{26157282-37FA-44C6-B480-C155C285F76E}"/>
              </a:ext>
            </a:extLst>
          </p:cNvPr>
          <p:cNvCxnSpPr>
            <a:cxnSpLocks/>
          </p:cNvCxnSpPr>
          <p:nvPr/>
        </p:nvCxnSpPr>
        <p:spPr bwMode="gray">
          <a:xfrm>
            <a:off x="415925" y="3215845"/>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1A697BA9-34AC-4E0A-B162-CCF70C939B78}"/>
              </a:ext>
            </a:extLst>
          </p:cNvPr>
          <p:cNvSpPr/>
          <p:nvPr/>
        </p:nvSpPr>
        <p:spPr bwMode="gray">
          <a:xfrm>
            <a:off x="415925" y="2589732"/>
            <a:ext cx="9072000" cy="1449523"/>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BE8F490D-1D02-4DBE-BECE-ADEC5A65CF4C}"/>
              </a:ext>
            </a:extLst>
          </p:cNvPr>
          <p:cNvCxnSpPr>
            <a:cxnSpLocks/>
          </p:cNvCxnSpPr>
          <p:nvPr/>
        </p:nvCxnSpPr>
        <p:spPr bwMode="gray">
          <a:xfrm>
            <a:off x="415925" y="253405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55FF9A1E-9BA4-4F25-857C-FBC6C142DFF8}"/>
              </a:ext>
            </a:extLst>
          </p:cNvPr>
          <p:cNvCxnSpPr>
            <a:cxnSpLocks/>
          </p:cNvCxnSpPr>
          <p:nvPr/>
        </p:nvCxnSpPr>
        <p:spPr bwMode="gray">
          <a:xfrm>
            <a:off x="415925" y="4518007"/>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569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正方形/長方形 12">
            <a:extLst>
              <a:ext uri="{FF2B5EF4-FFF2-40B4-BE49-F238E27FC236}">
                <a16:creationId xmlns:a16="http://schemas.microsoft.com/office/drawing/2014/main" id="{20686D07-4C8C-4785-A599-DBCCBFE5610B}"/>
              </a:ext>
            </a:extLst>
          </p:cNvPr>
          <p:cNvSpPr/>
          <p:nvPr/>
        </p:nvSpPr>
        <p:spPr>
          <a:xfrm>
            <a:off x="415925" y="612168"/>
            <a:ext cx="9072000" cy="54750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実施するサービスの場所・範囲について、</a:t>
            </a:r>
            <a:r>
              <a:rPr kumimoji="1" lang="en-US" altLang="ja-JP" sz="1292" b="1">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 </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内で実施する個別プロジェクト単位</a:t>
            </a:r>
            <a:r>
              <a:rPr kumimoji="1" lang="ja-JP" altLang="en-US" sz="1292" b="1">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lvl="1"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写真・図表等を用いて分かりやすく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3" name="オブジェクト 2" hidden="1">
            <a:extLst>
              <a:ext uri="{FF2B5EF4-FFF2-40B4-BE49-F238E27FC236}">
                <a16:creationId xmlns:a16="http://schemas.microsoft.com/office/drawing/2014/main" id="{9D83166C-023E-4ECE-ACA8-63FF6E64B847}"/>
              </a:ext>
            </a:extLst>
          </p:cNvPr>
          <p:cNvGraphicFramePr>
            <a:graphicFrameLocks noChangeAspect="1"/>
          </p:cNvGraphicFramePr>
          <p:nvPr>
            <p:custDataLst>
              <p:tags r:id="rId1"/>
            </p:custDataLst>
            <p:extLst>
              <p:ext uri="{D42A27DB-BD31-4B8C-83A1-F6EECF244321}">
                <p14:modId xmlns:p14="http://schemas.microsoft.com/office/powerpoint/2010/main" val="4180275006"/>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9D83166C-023E-4ECE-ACA8-63FF6E64B84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t>6. </a:t>
            </a:r>
            <a:r>
              <a:rPr lang="ja-JP" altLang="en-US"/>
              <a:t>分科会プロジェクトの実施場所</a:t>
            </a:r>
            <a:endParaRPr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FEF0D25D-23B7-43F9-8A7D-02CA2ECB13BE}"/>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3</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6" name="正方形/長方形 25">
            <a:extLst>
              <a:ext uri="{FF2B5EF4-FFF2-40B4-BE49-F238E27FC236}">
                <a16:creationId xmlns:a16="http://schemas.microsoft.com/office/drawing/2014/main" id="{FC392F22-C624-40E3-AA68-A538900D7E47}"/>
              </a:ext>
            </a:extLst>
          </p:cNvPr>
          <p:cNvSpPr/>
          <p:nvPr/>
        </p:nvSpPr>
        <p:spPr bwMode="gray">
          <a:xfrm>
            <a:off x="415925" y="1472826"/>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サービス実施場所・範囲</a:t>
            </a:r>
          </a:p>
        </p:txBody>
      </p:sp>
      <p:cxnSp>
        <p:nvCxnSpPr>
          <p:cNvPr id="27" name="直線コネクタ 26">
            <a:extLst>
              <a:ext uri="{FF2B5EF4-FFF2-40B4-BE49-F238E27FC236}">
                <a16:creationId xmlns:a16="http://schemas.microsoft.com/office/drawing/2014/main" id="{26157282-37FA-44C6-B480-C155C285F76E}"/>
              </a:ext>
            </a:extLst>
          </p:cNvPr>
          <p:cNvCxnSpPr>
            <a:cxnSpLocks/>
          </p:cNvCxnSpPr>
          <p:nvPr/>
        </p:nvCxnSpPr>
        <p:spPr bwMode="gray">
          <a:xfrm>
            <a:off x="415925" y="183282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1A697BA9-34AC-4E0A-B162-CCF70C939B78}"/>
              </a:ext>
            </a:extLst>
          </p:cNvPr>
          <p:cNvSpPr/>
          <p:nvPr/>
        </p:nvSpPr>
        <p:spPr bwMode="gray">
          <a:xfrm>
            <a:off x="421668" y="2310463"/>
            <a:ext cx="2890619" cy="3998261"/>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11" name="正方形/長方形 10">
            <a:extLst>
              <a:ext uri="{FF2B5EF4-FFF2-40B4-BE49-F238E27FC236}">
                <a16:creationId xmlns:a16="http://schemas.microsoft.com/office/drawing/2014/main" id="{892F7042-29A0-465A-BA68-E9470CCF7063}"/>
              </a:ext>
            </a:extLst>
          </p:cNvPr>
          <p:cNvSpPr/>
          <p:nvPr/>
        </p:nvSpPr>
        <p:spPr bwMode="gray">
          <a:xfrm>
            <a:off x="415925" y="1903938"/>
            <a:ext cx="289061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
        <p:nvSpPr>
          <p:cNvPr id="12" name="正方形/長方形 11">
            <a:extLst>
              <a:ext uri="{FF2B5EF4-FFF2-40B4-BE49-F238E27FC236}">
                <a16:creationId xmlns:a16="http://schemas.microsoft.com/office/drawing/2014/main" id="{E5EB7CF3-9335-4B7A-9608-30050EF60CC1}"/>
              </a:ext>
            </a:extLst>
          </p:cNvPr>
          <p:cNvSpPr/>
          <p:nvPr/>
        </p:nvSpPr>
        <p:spPr bwMode="gray">
          <a:xfrm>
            <a:off x="3501995" y="2310463"/>
            <a:ext cx="2890619" cy="3998261"/>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E69501B2-A27B-4FDF-BED1-FCF407CFFF0D}"/>
              </a:ext>
            </a:extLst>
          </p:cNvPr>
          <p:cNvSpPr/>
          <p:nvPr/>
        </p:nvSpPr>
        <p:spPr bwMode="gray">
          <a:xfrm>
            <a:off x="6582322" y="2310463"/>
            <a:ext cx="2890619" cy="3998261"/>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4028F4B3-49DB-4D76-8EB9-DC173B22B1A2}"/>
              </a:ext>
            </a:extLst>
          </p:cNvPr>
          <p:cNvSpPr/>
          <p:nvPr/>
        </p:nvSpPr>
        <p:spPr bwMode="gray">
          <a:xfrm>
            <a:off x="3501994" y="1903938"/>
            <a:ext cx="289061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A</a:t>
            </a:r>
          </a:p>
        </p:txBody>
      </p:sp>
      <p:sp>
        <p:nvSpPr>
          <p:cNvPr id="18" name="正方形/長方形 17">
            <a:extLst>
              <a:ext uri="{FF2B5EF4-FFF2-40B4-BE49-F238E27FC236}">
                <a16:creationId xmlns:a16="http://schemas.microsoft.com/office/drawing/2014/main" id="{FABE0038-F1C6-4872-ACCA-5AFEA957C996}"/>
              </a:ext>
            </a:extLst>
          </p:cNvPr>
          <p:cNvSpPr/>
          <p:nvPr/>
        </p:nvSpPr>
        <p:spPr bwMode="gray">
          <a:xfrm>
            <a:off x="6584694" y="1903938"/>
            <a:ext cx="289061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B</a:t>
            </a:r>
          </a:p>
        </p:txBody>
      </p:sp>
      <p:sp>
        <p:nvSpPr>
          <p:cNvPr id="19" name="テキスト ボックス 18">
            <a:extLst>
              <a:ext uri="{FF2B5EF4-FFF2-40B4-BE49-F238E27FC236}">
                <a16:creationId xmlns:a16="http://schemas.microsoft.com/office/drawing/2014/main" id="{E1412762-B132-4558-8602-A6AC4898F9B9}"/>
              </a:ext>
            </a:extLst>
          </p:cNvPr>
          <p:cNvSpPr txBox="1"/>
          <p:nvPr/>
        </p:nvSpPr>
        <p:spPr>
          <a:xfrm rot="20118198">
            <a:off x="3186920" y="3883442"/>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4837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5E325628-9791-4F27-8F28-E47E171E8CA4}"/>
              </a:ext>
            </a:extLst>
          </p:cNvPr>
          <p:cNvGraphicFramePr>
            <a:graphicFrameLocks noChangeAspect="1"/>
          </p:cNvGraphicFramePr>
          <p:nvPr>
            <p:custDataLst>
              <p:tags r:id="rId1"/>
            </p:custDataLst>
            <p:extLst>
              <p:ext uri="{D42A27DB-BD31-4B8C-83A1-F6EECF244321}">
                <p14:modId xmlns:p14="http://schemas.microsoft.com/office/powerpoint/2010/main" val="807983183"/>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4" name="オブジェクト 3" hidden="1">
                        <a:extLst>
                          <a:ext uri="{FF2B5EF4-FFF2-40B4-BE49-F238E27FC236}">
                            <a16:creationId xmlns:a16="http://schemas.microsoft.com/office/drawing/2014/main" id="{5E325628-9791-4F27-8F28-E47E171E8CA4}"/>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t>7. </a:t>
            </a:r>
            <a:r>
              <a:rPr lang="ja-JP" altLang="en-US"/>
              <a:t>分科会プロジェクトの実施体制</a:t>
            </a:r>
            <a:endParaRPr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520886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dirty="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分科会活動を実施するにあたった</a:t>
            </a:r>
            <a:r>
              <a:rPr kumimoji="1" lang="ja-JP" altLang="en-US" sz="1292" b="1" u="sng" dirty="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92" dirty="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役割分担を組織図等で記載してください</a:t>
            </a:r>
            <a:endParaRPr kumimoji="1" lang="en-US" altLang="ja-JP" sz="1292" dirty="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dirty="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各プロジェクト毎に再委託先も含めて記載してください</a:t>
            </a:r>
            <a:endParaRPr kumimoji="1" lang="en-US" altLang="ja-JP" sz="1292" dirty="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cxnSp>
        <p:nvCxnSpPr>
          <p:cNvPr id="5" name="AutoShape 9">
            <a:extLst>
              <a:ext uri="{FF2B5EF4-FFF2-40B4-BE49-F238E27FC236}">
                <a16:creationId xmlns:a16="http://schemas.microsoft.com/office/drawing/2014/main" id="{B1A4E106-AFF3-4477-A1E5-02EC5594FD49}"/>
              </a:ext>
            </a:extLst>
          </p:cNvPr>
          <p:cNvCxnSpPr>
            <a:cxnSpLocks noChangeShapeType="1"/>
            <a:stCxn id="19" idx="2"/>
            <a:endCxn id="10" idx="0"/>
          </p:cNvCxnSpPr>
          <p:nvPr/>
        </p:nvCxnSpPr>
        <p:spPr bwMode="gray">
          <a:xfrm rot="5400000">
            <a:off x="3325411" y="2090221"/>
            <a:ext cx="643287" cy="2632199"/>
          </a:xfrm>
          <a:prstGeom prst="bentConnector3">
            <a:avLst>
              <a:gd name="adj1" fmla="val 50000"/>
            </a:avLst>
          </a:prstGeom>
          <a:noFill/>
          <a:ln w="12700">
            <a:solidFill>
              <a:schemeClr val="bg2">
                <a:lumMod val="90000"/>
              </a:schemeClr>
            </a:solidFill>
            <a:miter lim="800000"/>
            <a:headEnd/>
            <a:tailEnd/>
          </a:ln>
        </p:spPr>
      </p:cxnSp>
      <p:cxnSp>
        <p:nvCxnSpPr>
          <p:cNvPr id="6" name="AutoShape 10">
            <a:extLst>
              <a:ext uri="{FF2B5EF4-FFF2-40B4-BE49-F238E27FC236}">
                <a16:creationId xmlns:a16="http://schemas.microsoft.com/office/drawing/2014/main" id="{18A6AEB1-2F3E-4E0C-906B-2864B3FDF7E6}"/>
              </a:ext>
            </a:extLst>
          </p:cNvPr>
          <p:cNvCxnSpPr>
            <a:cxnSpLocks noChangeShapeType="1"/>
            <a:stCxn id="19" idx="2"/>
            <a:endCxn id="14" idx="0"/>
          </p:cNvCxnSpPr>
          <p:nvPr/>
        </p:nvCxnSpPr>
        <p:spPr bwMode="gray">
          <a:xfrm rot="16200000" flipH="1">
            <a:off x="5957611" y="2090219"/>
            <a:ext cx="643287" cy="2632200"/>
          </a:xfrm>
          <a:prstGeom prst="bentConnector3">
            <a:avLst>
              <a:gd name="adj1" fmla="val 50000"/>
            </a:avLst>
          </a:prstGeom>
          <a:noFill/>
          <a:ln w="12700">
            <a:solidFill>
              <a:schemeClr val="bg2">
                <a:lumMod val="90000"/>
              </a:schemeClr>
            </a:solidFill>
            <a:miter lim="800000"/>
            <a:headEnd/>
            <a:tailEnd/>
          </a:ln>
        </p:spPr>
      </p:cxnSp>
      <p:cxnSp>
        <p:nvCxnSpPr>
          <p:cNvPr id="9" name="AutoShape 17">
            <a:extLst>
              <a:ext uri="{FF2B5EF4-FFF2-40B4-BE49-F238E27FC236}">
                <a16:creationId xmlns:a16="http://schemas.microsoft.com/office/drawing/2014/main" id="{F2C24162-93EF-4D05-843B-6B34094CDCAE}"/>
              </a:ext>
            </a:extLst>
          </p:cNvPr>
          <p:cNvCxnSpPr>
            <a:cxnSpLocks noChangeShapeType="1"/>
            <a:stCxn id="12" idx="0"/>
            <a:endCxn id="19" idx="2"/>
          </p:cNvCxnSpPr>
          <p:nvPr/>
        </p:nvCxnSpPr>
        <p:spPr bwMode="gray">
          <a:xfrm flipH="1" flipV="1">
            <a:off x="4963154" y="3084676"/>
            <a:ext cx="3" cy="643287"/>
          </a:xfrm>
          <a:prstGeom prst="straightConnector1">
            <a:avLst/>
          </a:prstGeom>
          <a:noFill/>
          <a:ln w="12700">
            <a:solidFill>
              <a:schemeClr val="bg2">
                <a:lumMod val="90000"/>
              </a:schemeClr>
            </a:solidFill>
            <a:round/>
            <a:headEnd/>
            <a:tailEnd/>
          </a:ln>
        </p:spPr>
      </p:cxnSp>
      <p:sp>
        <p:nvSpPr>
          <p:cNvPr id="10" name="Rectangle 24">
            <a:extLst>
              <a:ext uri="{FF2B5EF4-FFF2-40B4-BE49-F238E27FC236}">
                <a16:creationId xmlns:a16="http://schemas.microsoft.com/office/drawing/2014/main" id="{0366BA09-1EEE-49A0-9014-B32BEC610F51}"/>
              </a:ext>
            </a:extLst>
          </p:cNvPr>
          <p:cNvSpPr/>
          <p:nvPr/>
        </p:nvSpPr>
        <p:spPr bwMode="gray">
          <a:xfrm>
            <a:off x="1317080" y="3727964"/>
            <a:ext cx="2027750" cy="383354"/>
          </a:xfrm>
          <a:prstGeom prst="rect">
            <a:avLst/>
          </a:prstGeom>
          <a:solidFill>
            <a:schemeClr val="bg2">
              <a:lumMod val="90000"/>
            </a:schemeClr>
          </a:solidFill>
          <a:ln w="127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構成員</a:t>
            </a:r>
            <a:r>
              <a:rPr lang="en-US" altLang="ja-JP" sz="1108" b="1" kern="0">
                <a:latin typeface="Yu Gothic UI" panose="020B0500000000000000" pitchFamily="50" charset="-128"/>
                <a:ea typeface="Yu Gothic UI" panose="020B0500000000000000" pitchFamily="50" charset="-128"/>
                <a:sym typeface="Yu Gothic UI" panose="020B0500000000000000" pitchFamily="50" charset="-128"/>
              </a:rPr>
              <a:t>PJ A</a:t>
            </a:r>
            <a:endParaRPr lang="en-GB"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1" name="Rectangle 25">
            <a:extLst>
              <a:ext uri="{FF2B5EF4-FFF2-40B4-BE49-F238E27FC236}">
                <a16:creationId xmlns:a16="http://schemas.microsoft.com/office/drawing/2014/main" id="{91F3F711-9569-42CB-956B-50C151485F64}"/>
              </a:ext>
            </a:extLst>
          </p:cNvPr>
          <p:cNvSpPr/>
          <p:nvPr/>
        </p:nvSpPr>
        <p:spPr bwMode="gray">
          <a:xfrm>
            <a:off x="1317079" y="4118110"/>
            <a:ext cx="2027750"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br>
              <a:rPr lang="en-US" altLang="ja-JP" sz="1108">
                <a:latin typeface="Yu Gothic UI" panose="020B0500000000000000" pitchFamily="50" charset="-128"/>
                <a:ea typeface="Yu Gothic UI" panose="020B0500000000000000" pitchFamily="50" charset="-128"/>
                <a:sym typeface="Yu Gothic UI" panose="020B0500000000000000" pitchFamily="50" charset="-128"/>
              </a:rPr>
            </a:b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代表</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2" name="Rectangle 27">
            <a:extLst>
              <a:ext uri="{FF2B5EF4-FFF2-40B4-BE49-F238E27FC236}">
                <a16:creationId xmlns:a16="http://schemas.microsoft.com/office/drawing/2014/main" id="{78D21A30-20A2-4632-8157-18BACABD69FB}"/>
              </a:ext>
            </a:extLst>
          </p:cNvPr>
          <p:cNvSpPr/>
          <p:nvPr/>
        </p:nvSpPr>
        <p:spPr bwMode="gray">
          <a:xfrm>
            <a:off x="3949281" y="3727964"/>
            <a:ext cx="2027750" cy="383354"/>
          </a:xfrm>
          <a:prstGeom prst="rect">
            <a:avLst/>
          </a:prstGeom>
          <a:solidFill>
            <a:schemeClr val="bg2">
              <a:lumMod val="90000"/>
            </a:schemeClr>
          </a:solidFill>
          <a:ln w="127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構成員</a:t>
            </a:r>
            <a:r>
              <a:rPr lang="en-US" altLang="ja-JP" sz="1108" b="1" kern="0">
                <a:latin typeface="Yu Gothic UI" panose="020B0500000000000000" pitchFamily="50" charset="-128"/>
                <a:ea typeface="Yu Gothic UI" panose="020B0500000000000000" pitchFamily="50" charset="-128"/>
                <a:sym typeface="Yu Gothic UI" panose="020B0500000000000000" pitchFamily="50" charset="-128"/>
              </a:rPr>
              <a:t>PJ B</a:t>
            </a:r>
            <a:endParaRPr lang="en-GB" altLang="ja-JP"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Rectangle 28">
            <a:extLst>
              <a:ext uri="{FF2B5EF4-FFF2-40B4-BE49-F238E27FC236}">
                <a16:creationId xmlns:a16="http://schemas.microsoft.com/office/drawing/2014/main" id="{EB731F81-D6DF-468A-81E4-39A1834AEDB1}"/>
              </a:ext>
            </a:extLst>
          </p:cNvPr>
          <p:cNvSpPr/>
          <p:nvPr/>
        </p:nvSpPr>
        <p:spPr bwMode="gray">
          <a:xfrm>
            <a:off x="3949281" y="4118110"/>
            <a:ext cx="2027750"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ja-JP" altLang="en-US" sz="1108" kern="0">
                <a:latin typeface="Yu Gothic UI" panose="020B0500000000000000" pitchFamily="50" charset="-128"/>
                <a:ea typeface="Yu Gothic UI" panose="020B0500000000000000" pitchFamily="50" charset="-128"/>
                <a:sym typeface="Yu Gothic UI" panose="020B0500000000000000" pitchFamily="50" charset="-128"/>
              </a:rPr>
              <a:t>株式会社</a:t>
            </a: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p>
          <a:p>
            <a:pPr algn="ctr" defTabSz="602928">
              <a:defRPr/>
            </a:pP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代表</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endParaRPr lang="en-GB" altLang="ja-JP"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4" name="Rectangle 31">
            <a:extLst>
              <a:ext uri="{FF2B5EF4-FFF2-40B4-BE49-F238E27FC236}">
                <a16:creationId xmlns:a16="http://schemas.microsoft.com/office/drawing/2014/main" id="{2A808CB2-88D5-4EAF-8AAA-9A302B3E7EDA}"/>
              </a:ext>
            </a:extLst>
          </p:cNvPr>
          <p:cNvSpPr/>
          <p:nvPr/>
        </p:nvSpPr>
        <p:spPr bwMode="gray">
          <a:xfrm>
            <a:off x="6581480" y="3727964"/>
            <a:ext cx="2027750" cy="383354"/>
          </a:xfrm>
          <a:prstGeom prst="rect">
            <a:avLst/>
          </a:prstGeom>
          <a:solidFill>
            <a:schemeClr val="bg2">
              <a:lumMod val="90000"/>
            </a:schemeClr>
          </a:solidFill>
          <a:ln w="254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構成員</a:t>
            </a:r>
            <a:r>
              <a:rPr lang="en-US" altLang="ja-JP" sz="1108" b="1" kern="0">
                <a:latin typeface="Yu Gothic UI" panose="020B0500000000000000" pitchFamily="50" charset="-128"/>
                <a:ea typeface="Yu Gothic UI" panose="020B0500000000000000" pitchFamily="50" charset="-128"/>
                <a:sym typeface="Yu Gothic UI" panose="020B0500000000000000" pitchFamily="50" charset="-128"/>
              </a:rPr>
              <a:t>PJ C</a:t>
            </a:r>
            <a:endParaRPr lang="en-GB" altLang="ja-JP"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5" name="Rectangle 32">
            <a:extLst>
              <a:ext uri="{FF2B5EF4-FFF2-40B4-BE49-F238E27FC236}">
                <a16:creationId xmlns:a16="http://schemas.microsoft.com/office/drawing/2014/main" id="{CE12675F-C408-4391-A554-75B4451E941F}"/>
              </a:ext>
            </a:extLst>
          </p:cNvPr>
          <p:cNvSpPr/>
          <p:nvPr/>
        </p:nvSpPr>
        <p:spPr bwMode="gray">
          <a:xfrm>
            <a:off x="6581480" y="4118110"/>
            <a:ext cx="2027750"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kern="0">
                <a:latin typeface="Yu Gothic UI" panose="020B0500000000000000" pitchFamily="50" charset="-128"/>
                <a:ea typeface="Yu Gothic UI" panose="020B0500000000000000" pitchFamily="50" charset="-128"/>
                <a:sym typeface="Yu Gothic UI" panose="020B0500000000000000" pitchFamily="50" charset="-128"/>
              </a:rPr>
              <a:t>株式会社</a:t>
            </a:r>
            <a:endParaRPr lang="en-US" altLang="ja-JP" sz="1108" kern="0">
              <a:latin typeface="Yu Gothic UI" panose="020B0500000000000000" pitchFamily="50" charset="-128"/>
              <a:ea typeface="Yu Gothic UI" panose="020B0500000000000000" pitchFamily="50" charset="-128"/>
              <a:sym typeface="Yu Gothic UI" panose="020B0500000000000000" pitchFamily="50" charset="-128"/>
            </a:endParaRPr>
          </a:p>
          <a:p>
            <a:pPr algn="ctr" defTabSz="602928">
              <a:defRPr/>
            </a:pP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代表</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a:t>
            </a:r>
            <a:endParaRPr lang="en-GB" altLang="ja-JP"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9" name="Rectangle 18">
            <a:extLst>
              <a:ext uri="{FF2B5EF4-FFF2-40B4-BE49-F238E27FC236}">
                <a16:creationId xmlns:a16="http://schemas.microsoft.com/office/drawing/2014/main" id="{CFEAB2D0-A063-41CE-9547-DF3BE9D3C6FC}"/>
              </a:ext>
            </a:extLst>
          </p:cNvPr>
          <p:cNvSpPr/>
          <p:nvPr/>
        </p:nvSpPr>
        <p:spPr bwMode="gray">
          <a:xfrm>
            <a:off x="3955089" y="2530942"/>
            <a:ext cx="201613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b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b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a:t>
            </a:r>
            <a:r>
              <a:rPr lang="ja-JP" altLang="en-US" sz="1108" kern="0">
                <a:latin typeface="Yu Gothic UI" panose="020B0500000000000000" pitchFamily="50" charset="-128"/>
                <a:ea typeface="Yu Gothic UI" panose="020B0500000000000000" pitchFamily="50" charset="-128"/>
                <a:sym typeface="Yu Gothic UI" panose="020B0500000000000000" pitchFamily="50" charset="-128"/>
              </a:rPr>
              <a:t>代表団体</a:t>
            </a: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Rectangle 15">
            <a:extLst>
              <a:ext uri="{FF2B5EF4-FFF2-40B4-BE49-F238E27FC236}">
                <a16:creationId xmlns:a16="http://schemas.microsoft.com/office/drawing/2014/main" id="{A2BEB9B6-72C8-445F-93EF-982EFE0B5777}"/>
              </a:ext>
            </a:extLst>
          </p:cNvPr>
          <p:cNvSpPr/>
          <p:nvPr/>
        </p:nvSpPr>
        <p:spPr bwMode="gray">
          <a:xfrm>
            <a:off x="3955089" y="2140797"/>
            <a:ext cx="2016131" cy="383354"/>
          </a:xfrm>
          <a:prstGeom prst="rect">
            <a:avLst/>
          </a:prstGeom>
          <a:solidFill>
            <a:schemeClr val="bg2">
              <a:lumMod val="90000"/>
            </a:schemeClr>
          </a:solidFill>
          <a:ln w="12700" cap="flat" cmpd="sng" algn="ctr">
            <a:solidFill>
              <a:schemeClr val="bg2">
                <a:lumMod val="90000"/>
              </a:schemeClr>
            </a:solidFill>
            <a:prstDash val="solid"/>
          </a:ln>
          <a:effectLst/>
        </p:spPr>
        <p:txBody>
          <a:bodyPr lIns="47473" tIns="47473" rIns="47473" bIns="47473" rtlCol="0" anchor="ctr"/>
          <a:lstStyle/>
          <a:p>
            <a:pPr algn="ctr" defTabSz="602928">
              <a:defRPr/>
            </a:pPr>
            <a:r>
              <a:rPr lang="ja-JP" altLang="en-US" sz="1108" b="1" kern="0">
                <a:latin typeface="Yu Gothic UI" panose="020B0500000000000000" pitchFamily="50" charset="-128"/>
                <a:ea typeface="Yu Gothic UI" panose="020B0500000000000000" pitchFamily="50" charset="-128"/>
                <a:sym typeface="Yu Gothic UI" panose="020B0500000000000000" pitchFamily="50" charset="-128"/>
              </a:rPr>
              <a:t>代表プロジェクト</a:t>
            </a:r>
            <a:endParaRPr lang="en-GB" sz="1108" b="1"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Rectangle 18">
            <a:extLst>
              <a:ext uri="{FF2B5EF4-FFF2-40B4-BE49-F238E27FC236}">
                <a16:creationId xmlns:a16="http://schemas.microsoft.com/office/drawing/2014/main" id="{31EF3FF5-C471-4822-907A-ACC07BD4F399}"/>
              </a:ext>
            </a:extLst>
          </p:cNvPr>
          <p:cNvSpPr>
            <a:spLocks noChangeArrowheads="1"/>
          </p:cNvSpPr>
          <p:nvPr/>
        </p:nvSpPr>
        <p:spPr bwMode="gray">
          <a:xfrm>
            <a:off x="5994824" y="2136925"/>
            <a:ext cx="2027750" cy="937088"/>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プロジェクトの全体統括</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a:p>
            <a:pPr marL="112002" lvl="1" indent="-110956">
              <a:lnSpc>
                <a:spcPct val="106000"/>
              </a:lnSpc>
              <a:spcBef>
                <a:spcPts val="198"/>
              </a:spcBef>
              <a:buClr>
                <a:schemeClr val="tx1"/>
              </a:buClr>
              <a:buFont typeface="Wingdings" pitchFamily="2" charset="2"/>
              <a:buChar char="n"/>
            </a:pP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5G</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を含む先端技術を</a:t>
            </a:r>
            <a:br>
              <a:rPr lang="en-US" altLang="ja-JP" sz="1108">
                <a:latin typeface="Yu Gothic UI" panose="020B0500000000000000" pitchFamily="50" charset="-128"/>
                <a:ea typeface="Yu Gothic UI" panose="020B0500000000000000" pitchFamily="50" charset="-128"/>
                <a:sym typeface="Yu Gothic UI" panose="020B0500000000000000" pitchFamily="50" charset="-128"/>
              </a:rPr>
            </a:b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活用したスマート</a:t>
            </a:r>
            <a:br>
              <a:rPr lang="en-US" altLang="ja-JP" sz="1108">
                <a:latin typeface="Yu Gothic UI" panose="020B0500000000000000" pitchFamily="50" charset="-128"/>
                <a:ea typeface="Yu Gothic UI" panose="020B0500000000000000" pitchFamily="50" charset="-128"/>
                <a:sym typeface="Yu Gothic UI" panose="020B0500000000000000" pitchFamily="50" charset="-128"/>
              </a:rPr>
            </a:b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シティサービスの提供</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2" name="スライド番号プレースホルダー 3">
            <a:extLst>
              <a:ext uri="{FF2B5EF4-FFF2-40B4-BE49-F238E27FC236}">
                <a16:creationId xmlns:a16="http://schemas.microsoft.com/office/drawing/2014/main" id="{125D316A-8BEF-401C-B96D-08680FD1625F}"/>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4</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5" name="Rectangle 25">
            <a:extLst>
              <a:ext uri="{FF2B5EF4-FFF2-40B4-BE49-F238E27FC236}">
                <a16:creationId xmlns:a16="http://schemas.microsoft.com/office/drawing/2014/main" id="{88904694-5332-49BF-B0FC-B5BC19DE6B69}"/>
              </a:ext>
            </a:extLst>
          </p:cNvPr>
          <p:cNvSpPr/>
          <p:nvPr/>
        </p:nvSpPr>
        <p:spPr bwMode="gray">
          <a:xfrm>
            <a:off x="1317079"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6" name="Rectangle 18">
            <a:extLst>
              <a:ext uri="{FF2B5EF4-FFF2-40B4-BE49-F238E27FC236}">
                <a16:creationId xmlns:a16="http://schemas.microsoft.com/office/drawing/2014/main" id="{E6363102-818D-4AB6-A015-01CEA15904C6}"/>
              </a:ext>
            </a:extLst>
          </p:cNvPr>
          <p:cNvSpPr>
            <a:spLocks noChangeArrowheads="1"/>
          </p:cNvSpPr>
          <p:nvPr/>
        </p:nvSpPr>
        <p:spPr bwMode="gray">
          <a:xfrm>
            <a:off x="1231344"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５</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G</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基地局の維持管理</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7" name="Rectangle 25">
            <a:extLst>
              <a:ext uri="{FF2B5EF4-FFF2-40B4-BE49-F238E27FC236}">
                <a16:creationId xmlns:a16="http://schemas.microsoft.com/office/drawing/2014/main" id="{7A9087B3-8AEC-4B9E-A8AF-116C7D9462B6}"/>
              </a:ext>
            </a:extLst>
          </p:cNvPr>
          <p:cNvSpPr/>
          <p:nvPr/>
        </p:nvSpPr>
        <p:spPr bwMode="gray">
          <a:xfrm>
            <a:off x="2528308"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8" name="Rectangle 18">
            <a:extLst>
              <a:ext uri="{FF2B5EF4-FFF2-40B4-BE49-F238E27FC236}">
                <a16:creationId xmlns:a16="http://schemas.microsoft.com/office/drawing/2014/main" id="{59031A14-564C-428D-AF73-C45FB04161E1}"/>
              </a:ext>
            </a:extLst>
          </p:cNvPr>
          <p:cNvSpPr>
            <a:spLocks noChangeArrowheads="1"/>
          </p:cNvSpPr>
          <p:nvPr/>
        </p:nvSpPr>
        <p:spPr bwMode="gray">
          <a:xfrm>
            <a:off x="2443259"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1" name="Rectangle 25">
            <a:extLst>
              <a:ext uri="{FF2B5EF4-FFF2-40B4-BE49-F238E27FC236}">
                <a16:creationId xmlns:a16="http://schemas.microsoft.com/office/drawing/2014/main" id="{C572ABC2-55BF-4E56-AD23-F65CF0D2AE9C}"/>
              </a:ext>
            </a:extLst>
          </p:cNvPr>
          <p:cNvSpPr/>
          <p:nvPr/>
        </p:nvSpPr>
        <p:spPr bwMode="gray">
          <a:xfrm>
            <a:off x="3949281"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2" name="Rectangle 25">
            <a:extLst>
              <a:ext uri="{FF2B5EF4-FFF2-40B4-BE49-F238E27FC236}">
                <a16:creationId xmlns:a16="http://schemas.microsoft.com/office/drawing/2014/main" id="{6BEF2A14-344D-4E5D-B96D-8013D0A5488F}"/>
              </a:ext>
            </a:extLst>
          </p:cNvPr>
          <p:cNvSpPr/>
          <p:nvPr/>
        </p:nvSpPr>
        <p:spPr bwMode="gray">
          <a:xfrm>
            <a:off x="5154699"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3" name="Rectangle 25">
            <a:extLst>
              <a:ext uri="{FF2B5EF4-FFF2-40B4-BE49-F238E27FC236}">
                <a16:creationId xmlns:a16="http://schemas.microsoft.com/office/drawing/2014/main" id="{589F2E8E-5AA9-4968-89A2-DD3A1BEE33EA}"/>
              </a:ext>
            </a:extLst>
          </p:cNvPr>
          <p:cNvSpPr/>
          <p:nvPr/>
        </p:nvSpPr>
        <p:spPr bwMode="gray">
          <a:xfrm>
            <a:off x="6581480"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4" name="Rectangle 25">
            <a:extLst>
              <a:ext uri="{FF2B5EF4-FFF2-40B4-BE49-F238E27FC236}">
                <a16:creationId xmlns:a16="http://schemas.microsoft.com/office/drawing/2014/main" id="{E68DB0CD-3A4C-48B6-8889-BC276D47F551}"/>
              </a:ext>
            </a:extLst>
          </p:cNvPr>
          <p:cNvSpPr/>
          <p:nvPr/>
        </p:nvSpPr>
        <p:spPr bwMode="gray">
          <a:xfrm>
            <a:off x="7792709" y="5621632"/>
            <a:ext cx="816521" cy="553734"/>
          </a:xfrm>
          <a:prstGeom prst="rect">
            <a:avLst/>
          </a:prstGeom>
          <a:solidFill>
            <a:schemeClr val="bg1"/>
          </a:solidFill>
          <a:ln w="12700" cap="flat" cmpd="sng" algn="ctr">
            <a:solidFill>
              <a:schemeClr val="bg2">
                <a:lumMod val="90000"/>
              </a:schemeClr>
            </a:solidFill>
            <a:prstDash val="solid"/>
          </a:ln>
          <a:effectLst/>
        </p:spPr>
        <p:txBody>
          <a:bodyPr lIns="47473" tIns="47473" rIns="47473" bIns="47473" rtlCol="0" anchor="ctr" anchorCtr="0"/>
          <a:lstStyle/>
          <a:p>
            <a:pPr algn="ctr" defTabSz="602928">
              <a:defRPr/>
            </a:pPr>
            <a:r>
              <a:rPr lang="en-US" altLang="ja-JP" sz="1108" kern="0">
                <a:latin typeface="Yu Gothic UI" panose="020B0500000000000000" pitchFamily="50" charset="-128"/>
                <a:ea typeface="Yu Gothic UI" panose="020B0500000000000000" pitchFamily="50" charset="-128"/>
                <a:sym typeface="Yu Gothic UI" panose="020B0500000000000000" pitchFamily="50" charset="-128"/>
              </a:rPr>
              <a:t>XXXXX</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株式会社</a:t>
            </a:r>
            <a:endParaRPr lang="en-GB" sz="1108" kern="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5" name="Rectangle 18">
            <a:extLst>
              <a:ext uri="{FF2B5EF4-FFF2-40B4-BE49-F238E27FC236}">
                <a16:creationId xmlns:a16="http://schemas.microsoft.com/office/drawing/2014/main" id="{0CBCD21F-6F9A-4C2D-A69D-17B34618D618}"/>
              </a:ext>
            </a:extLst>
          </p:cNvPr>
          <p:cNvSpPr>
            <a:spLocks noChangeArrowheads="1"/>
          </p:cNvSpPr>
          <p:nvPr/>
        </p:nvSpPr>
        <p:spPr bwMode="gray">
          <a:xfrm>
            <a:off x="3861579"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6" name="Rectangle 18">
            <a:extLst>
              <a:ext uri="{FF2B5EF4-FFF2-40B4-BE49-F238E27FC236}">
                <a16:creationId xmlns:a16="http://schemas.microsoft.com/office/drawing/2014/main" id="{C79D19D3-F116-4A34-B40C-F00A1B8B429D}"/>
              </a:ext>
            </a:extLst>
          </p:cNvPr>
          <p:cNvSpPr>
            <a:spLocks noChangeArrowheads="1"/>
          </p:cNvSpPr>
          <p:nvPr/>
        </p:nvSpPr>
        <p:spPr bwMode="gray">
          <a:xfrm>
            <a:off x="5063635"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7" name="Rectangle 18">
            <a:extLst>
              <a:ext uri="{FF2B5EF4-FFF2-40B4-BE49-F238E27FC236}">
                <a16:creationId xmlns:a16="http://schemas.microsoft.com/office/drawing/2014/main" id="{D5920551-3824-4C87-8DD0-10DAF92C46DA}"/>
              </a:ext>
            </a:extLst>
          </p:cNvPr>
          <p:cNvSpPr>
            <a:spLocks noChangeArrowheads="1"/>
          </p:cNvSpPr>
          <p:nvPr/>
        </p:nvSpPr>
        <p:spPr bwMode="gray">
          <a:xfrm>
            <a:off x="6491814"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8" name="Rectangle 18">
            <a:extLst>
              <a:ext uri="{FF2B5EF4-FFF2-40B4-BE49-F238E27FC236}">
                <a16:creationId xmlns:a16="http://schemas.microsoft.com/office/drawing/2014/main" id="{091BDCCC-8D8A-41D3-BC3D-06E0470D256E}"/>
              </a:ext>
            </a:extLst>
          </p:cNvPr>
          <p:cNvSpPr>
            <a:spLocks noChangeArrowheads="1"/>
          </p:cNvSpPr>
          <p:nvPr/>
        </p:nvSpPr>
        <p:spPr bwMode="gray">
          <a:xfrm>
            <a:off x="7706974" y="6177172"/>
            <a:ext cx="987990" cy="641794"/>
          </a:xfrm>
          <a:prstGeom prst="rect">
            <a:avLst/>
          </a:prstGeom>
          <a:noFill/>
          <a:ln w="9525" algn="ctr">
            <a:noFill/>
            <a:miter lim="800000"/>
            <a:headEnd/>
            <a:tailEnd/>
          </a:ln>
        </p:spPr>
        <p:txBody>
          <a:bodyPr lIns="47473" tIns="47473" rIns="47473" bIns="47473"/>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Ｘｘｘ</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cxnSp>
        <p:nvCxnSpPr>
          <p:cNvPr id="40" name="コネクタ: カギ線 39">
            <a:extLst>
              <a:ext uri="{FF2B5EF4-FFF2-40B4-BE49-F238E27FC236}">
                <a16:creationId xmlns:a16="http://schemas.microsoft.com/office/drawing/2014/main" id="{1C1BE11D-4B29-4C9D-A919-1D9DCB42ACAC}"/>
              </a:ext>
            </a:extLst>
          </p:cNvPr>
          <p:cNvCxnSpPr>
            <a:cxnSpLocks/>
            <a:stCxn id="25" idx="0"/>
            <a:endCxn id="11" idx="2"/>
          </p:cNvCxnSpPr>
          <p:nvPr/>
        </p:nvCxnSpPr>
        <p:spPr bwMode="gray">
          <a:xfrm rot="5400000" flipH="1" flipV="1">
            <a:off x="1553253" y="4843931"/>
            <a:ext cx="949788" cy="605614"/>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コネクタ: カギ線 40">
            <a:extLst>
              <a:ext uri="{FF2B5EF4-FFF2-40B4-BE49-F238E27FC236}">
                <a16:creationId xmlns:a16="http://schemas.microsoft.com/office/drawing/2014/main" id="{3EA5F0BE-BA9D-4167-A094-E1CF00EE05CA}"/>
              </a:ext>
            </a:extLst>
          </p:cNvPr>
          <p:cNvCxnSpPr>
            <a:cxnSpLocks/>
            <a:stCxn id="11" idx="2"/>
            <a:endCxn id="27" idx="0"/>
          </p:cNvCxnSpPr>
          <p:nvPr/>
        </p:nvCxnSpPr>
        <p:spPr bwMode="gray">
          <a:xfrm rot="16200000" flipH="1">
            <a:off x="2158867" y="4843930"/>
            <a:ext cx="949788" cy="60561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コネクタ: カギ線 52">
            <a:extLst>
              <a:ext uri="{FF2B5EF4-FFF2-40B4-BE49-F238E27FC236}">
                <a16:creationId xmlns:a16="http://schemas.microsoft.com/office/drawing/2014/main" id="{1009E45F-9856-4E78-B4C0-DABCFF92D02D}"/>
              </a:ext>
            </a:extLst>
          </p:cNvPr>
          <p:cNvCxnSpPr>
            <a:cxnSpLocks/>
            <a:stCxn id="13" idx="2"/>
            <a:endCxn id="32" idx="0"/>
          </p:cNvCxnSpPr>
          <p:nvPr/>
        </p:nvCxnSpPr>
        <p:spPr bwMode="gray">
          <a:xfrm rot="16200000" flipH="1">
            <a:off x="4788164" y="4846836"/>
            <a:ext cx="949788" cy="59980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コネクタ: カギ線 53">
            <a:extLst>
              <a:ext uri="{FF2B5EF4-FFF2-40B4-BE49-F238E27FC236}">
                <a16:creationId xmlns:a16="http://schemas.microsoft.com/office/drawing/2014/main" id="{F54CFF1F-E5D2-4B64-B5D1-16DD77F1888D}"/>
              </a:ext>
            </a:extLst>
          </p:cNvPr>
          <p:cNvCxnSpPr>
            <a:cxnSpLocks/>
            <a:stCxn id="13" idx="2"/>
            <a:endCxn id="31" idx="0"/>
          </p:cNvCxnSpPr>
          <p:nvPr/>
        </p:nvCxnSpPr>
        <p:spPr bwMode="gray">
          <a:xfrm rot="5400000">
            <a:off x="4185455" y="4843931"/>
            <a:ext cx="949788" cy="60561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7B594DE8-4B93-4C8D-AB7A-E9C6EE34BD27}"/>
              </a:ext>
            </a:extLst>
          </p:cNvPr>
          <p:cNvCxnSpPr>
            <a:cxnSpLocks/>
            <a:stCxn id="15" idx="2"/>
            <a:endCxn id="34" idx="0"/>
          </p:cNvCxnSpPr>
          <p:nvPr/>
        </p:nvCxnSpPr>
        <p:spPr bwMode="gray">
          <a:xfrm rot="16200000" flipH="1">
            <a:off x="7423268" y="4843930"/>
            <a:ext cx="949788" cy="60561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コネクタ: カギ線 65">
            <a:extLst>
              <a:ext uri="{FF2B5EF4-FFF2-40B4-BE49-F238E27FC236}">
                <a16:creationId xmlns:a16="http://schemas.microsoft.com/office/drawing/2014/main" id="{8C5ABB60-6A9F-4AA7-B5B7-3D26CEA2802F}"/>
              </a:ext>
            </a:extLst>
          </p:cNvPr>
          <p:cNvCxnSpPr>
            <a:cxnSpLocks/>
            <a:stCxn id="15" idx="2"/>
            <a:endCxn id="33" idx="0"/>
          </p:cNvCxnSpPr>
          <p:nvPr/>
        </p:nvCxnSpPr>
        <p:spPr bwMode="gray">
          <a:xfrm rot="5400000">
            <a:off x="6817654" y="4843931"/>
            <a:ext cx="949788" cy="605614"/>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18">
            <a:extLst>
              <a:ext uri="{FF2B5EF4-FFF2-40B4-BE49-F238E27FC236}">
                <a16:creationId xmlns:a16="http://schemas.microsoft.com/office/drawing/2014/main" id="{CB887C37-1AE0-42A5-9764-AC8212102517}"/>
              </a:ext>
            </a:extLst>
          </p:cNvPr>
          <p:cNvSpPr>
            <a:spLocks noChangeArrowheads="1"/>
          </p:cNvSpPr>
          <p:nvPr/>
        </p:nvSpPr>
        <p:spPr bwMode="gray">
          <a:xfrm>
            <a:off x="1294784" y="4673650"/>
            <a:ext cx="2027750" cy="323007"/>
          </a:xfrm>
          <a:prstGeom prst="rect">
            <a:avLst/>
          </a:prstGeom>
          <a:solidFill>
            <a:schemeClr val="bg1"/>
          </a:solidFill>
          <a:ln w="9525" algn="ctr">
            <a:noFill/>
            <a:miter lim="800000"/>
            <a:headEnd/>
            <a:tailEnd/>
          </a:ln>
        </p:spPr>
        <p:txBody>
          <a:bodyPr lIns="47473" tIns="47473" rIns="47473" bIns="47473" anchor="ctr"/>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５</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G</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通信環境の提供</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7" name="Rectangle 18">
            <a:extLst>
              <a:ext uri="{FF2B5EF4-FFF2-40B4-BE49-F238E27FC236}">
                <a16:creationId xmlns:a16="http://schemas.microsoft.com/office/drawing/2014/main" id="{272B0F44-1D93-450F-B10F-EE5EDC1839E4}"/>
              </a:ext>
            </a:extLst>
          </p:cNvPr>
          <p:cNvSpPr>
            <a:spLocks noChangeArrowheads="1"/>
          </p:cNvSpPr>
          <p:nvPr/>
        </p:nvSpPr>
        <p:spPr bwMode="gray">
          <a:xfrm>
            <a:off x="3949280" y="4673652"/>
            <a:ext cx="2027750" cy="323007"/>
          </a:xfrm>
          <a:prstGeom prst="rect">
            <a:avLst/>
          </a:prstGeom>
          <a:solidFill>
            <a:schemeClr val="bg1"/>
          </a:solidFill>
          <a:ln w="9525" algn="ctr">
            <a:noFill/>
            <a:miter lim="800000"/>
            <a:headEnd/>
            <a:tailEnd/>
          </a:ln>
        </p:spPr>
        <p:txBody>
          <a:bodyPr lIns="47473" tIns="47473" rIns="47473" bIns="47473" anchor="ctr"/>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サービス提供に必要な機材・設備の提供</a:t>
            </a:r>
            <a:endParaRPr lang="en-US" altLang="ja-JP" sz="1108">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8" name="Rectangle 18">
            <a:extLst>
              <a:ext uri="{FF2B5EF4-FFF2-40B4-BE49-F238E27FC236}">
                <a16:creationId xmlns:a16="http://schemas.microsoft.com/office/drawing/2014/main" id="{0E32F6D6-A63E-4564-9CA6-E9823883763D}"/>
              </a:ext>
            </a:extLst>
          </p:cNvPr>
          <p:cNvSpPr>
            <a:spLocks noChangeArrowheads="1"/>
          </p:cNvSpPr>
          <p:nvPr/>
        </p:nvSpPr>
        <p:spPr bwMode="gray">
          <a:xfrm>
            <a:off x="6581480" y="4673652"/>
            <a:ext cx="2027750" cy="323007"/>
          </a:xfrm>
          <a:prstGeom prst="rect">
            <a:avLst/>
          </a:prstGeom>
          <a:solidFill>
            <a:schemeClr val="bg1"/>
          </a:solidFill>
          <a:ln w="9525" algn="ctr">
            <a:noFill/>
            <a:miter lim="800000"/>
            <a:headEnd/>
            <a:tailEnd/>
          </a:ln>
        </p:spPr>
        <p:txBody>
          <a:bodyPr lIns="47473" tIns="47473" rIns="47473" bIns="47473" anchor="ctr"/>
          <a:lstStyle/>
          <a:p>
            <a:pPr marL="112002" lvl="1" indent="-110956">
              <a:lnSpc>
                <a:spcPct val="106000"/>
              </a:lnSpc>
              <a:spcBef>
                <a:spcPts val="198"/>
              </a:spcBef>
              <a:buClr>
                <a:schemeClr val="tx1"/>
              </a:buClr>
              <a:buFont typeface="Wingdings" pitchFamily="2" charset="2"/>
              <a:buChar char="n"/>
            </a:pP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サービス提供における</a:t>
            </a:r>
            <a:r>
              <a:rPr lang="en-US" altLang="ja-JP" sz="1108">
                <a:latin typeface="Yu Gothic UI" panose="020B0500000000000000" pitchFamily="50" charset="-128"/>
                <a:ea typeface="Yu Gothic UI" panose="020B0500000000000000" pitchFamily="50" charset="-128"/>
                <a:sym typeface="Yu Gothic UI" panose="020B0500000000000000" pitchFamily="50" charset="-128"/>
              </a:rPr>
              <a:t>UI</a:t>
            </a:r>
            <a:r>
              <a:rPr lang="ja-JP" altLang="en-US" sz="1108">
                <a:latin typeface="Yu Gothic UI" panose="020B0500000000000000" pitchFamily="50" charset="-128"/>
                <a:ea typeface="Yu Gothic UI" panose="020B0500000000000000" pitchFamily="50" charset="-128"/>
                <a:sym typeface="Yu Gothic UI" panose="020B0500000000000000" pitchFamily="50" charset="-128"/>
              </a:rPr>
              <a:t>設計・構築</a:t>
            </a:r>
          </a:p>
        </p:txBody>
      </p:sp>
      <p:sp>
        <p:nvSpPr>
          <p:cNvPr id="39" name="正方形/長方形 38">
            <a:extLst>
              <a:ext uri="{FF2B5EF4-FFF2-40B4-BE49-F238E27FC236}">
                <a16:creationId xmlns:a16="http://schemas.microsoft.com/office/drawing/2014/main" id="{20D432D4-32BC-45EA-8F7B-BB8AF1FE317B}"/>
              </a:ext>
            </a:extLst>
          </p:cNvPr>
          <p:cNvSpPr/>
          <p:nvPr/>
        </p:nvSpPr>
        <p:spPr bwMode="gray">
          <a:xfrm>
            <a:off x="415925" y="1477596"/>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実施体制</a:t>
            </a:r>
          </a:p>
        </p:txBody>
      </p:sp>
      <p:cxnSp>
        <p:nvCxnSpPr>
          <p:cNvPr id="42" name="直線コネクタ 41">
            <a:extLst>
              <a:ext uri="{FF2B5EF4-FFF2-40B4-BE49-F238E27FC236}">
                <a16:creationId xmlns:a16="http://schemas.microsoft.com/office/drawing/2014/main" id="{95762208-623F-4C65-AFD1-CFAE01FB7179}"/>
              </a:ext>
            </a:extLst>
          </p:cNvPr>
          <p:cNvCxnSpPr>
            <a:cxnSpLocks/>
          </p:cNvCxnSpPr>
          <p:nvPr/>
        </p:nvCxnSpPr>
        <p:spPr bwMode="gray">
          <a:xfrm>
            <a:off x="415925" y="1837596"/>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6855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AD6B6195-5AA0-495F-B3DB-E58F735DD21F}"/>
              </a:ext>
            </a:extLst>
          </p:cNvPr>
          <p:cNvGraphicFramePr>
            <a:graphicFrameLocks noChangeAspect="1"/>
          </p:cNvGraphicFramePr>
          <p:nvPr>
            <p:custDataLst>
              <p:tags r:id="rId1"/>
            </p:custDataLst>
            <p:extLst>
              <p:ext uri="{D42A27DB-BD31-4B8C-83A1-F6EECF244321}">
                <p14:modId xmlns:p14="http://schemas.microsoft.com/office/powerpoint/2010/main" val="4256874823"/>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AD6B6195-5AA0-495F-B3DB-E58F735DD21F}"/>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8.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の活動スケジュール</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7292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PX</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記載した</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の実装イメージを達成するスケジュールについて</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実施事項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スライド番号プレースホルダー 3">
            <a:extLst>
              <a:ext uri="{FF2B5EF4-FFF2-40B4-BE49-F238E27FC236}">
                <a16:creationId xmlns:a16="http://schemas.microsoft.com/office/drawing/2014/main" id="{55D99111-17A2-4052-8BE5-2094E2AE4CF1}"/>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5</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7" name="正方形/長方形 16">
            <a:extLst>
              <a:ext uri="{FF2B5EF4-FFF2-40B4-BE49-F238E27FC236}">
                <a16:creationId xmlns:a16="http://schemas.microsoft.com/office/drawing/2014/main" id="{D57BC059-8152-40AA-8F59-641F93A32493}"/>
              </a:ext>
            </a:extLst>
          </p:cNvPr>
          <p:cNvSpPr/>
          <p:nvPr/>
        </p:nvSpPr>
        <p:spPr bwMode="gray">
          <a:xfrm>
            <a:off x="415926" y="1706920"/>
            <a:ext cx="854160" cy="1479625"/>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latin typeface="+mn-lt"/>
                <a:cs typeface="+mn-cs"/>
              </a:rPr>
              <a:t>リーダー</a:t>
            </a:r>
            <a:r>
              <a:rPr kumimoji="1" lang="en-US" altLang="ja-JP" sz="1200" b="1">
                <a:latin typeface="+mn-lt"/>
                <a:cs typeface="+mn-cs"/>
              </a:rPr>
              <a:t>PJ</a:t>
            </a:r>
          </a:p>
        </p:txBody>
      </p:sp>
      <p:sp>
        <p:nvSpPr>
          <p:cNvPr id="18" name="Rectangle 18">
            <a:extLst>
              <a:ext uri="{FF2B5EF4-FFF2-40B4-BE49-F238E27FC236}">
                <a16:creationId xmlns:a16="http://schemas.microsoft.com/office/drawing/2014/main" id="{74842215-5A7B-4D81-B20C-9872F5899A4C}"/>
              </a:ext>
            </a:extLst>
          </p:cNvPr>
          <p:cNvSpPr>
            <a:spLocks noChangeArrowheads="1"/>
          </p:cNvSpPr>
          <p:nvPr/>
        </p:nvSpPr>
        <p:spPr bwMode="gray">
          <a:xfrm>
            <a:off x="1359761" y="1706920"/>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自動配送サービスのコアとなる自動配送システムの設計・構築・運用、デリバリー</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設計・構築・運用</a:t>
            </a: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134" lvl="1">
              <a:lnSpc>
                <a:spcPct val="106000"/>
              </a:lnSpc>
              <a:spcBef>
                <a:spcPts val="214"/>
              </a:spcBef>
              <a:buClr>
                <a:schemeClr val="tx1"/>
              </a:buClr>
            </a:pPr>
            <a:endParaRPr lang="en-US" altLang="ja-JP" sz="1200">
              <a:latin typeface="Yu Gothic UI" panose="020B0500000000000000" pitchFamily="50" charset="-128"/>
              <a:ea typeface="Yu Gothic UI" panose="020B0500000000000000" pitchFamily="50" charset="-128"/>
            </a:endParaRPr>
          </a:p>
        </p:txBody>
      </p:sp>
      <p:sp>
        <p:nvSpPr>
          <p:cNvPr id="19" name="Rectangle 18">
            <a:extLst>
              <a:ext uri="{FF2B5EF4-FFF2-40B4-BE49-F238E27FC236}">
                <a16:creationId xmlns:a16="http://schemas.microsoft.com/office/drawing/2014/main" id="{889F8362-C8EF-4CDE-9A05-715020D364C1}"/>
              </a:ext>
            </a:extLst>
          </p:cNvPr>
          <p:cNvSpPr>
            <a:spLocks noChangeArrowheads="1"/>
          </p:cNvSpPr>
          <p:nvPr/>
        </p:nvSpPr>
        <p:spPr bwMode="gray">
          <a:xfrm>
            <a:off x="5463813" y="1706920"/>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自動配送サービスのコアとなる自動配送システムの運用、デリバリー</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運用</a:t>
            </a: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p:txBody>
      </p:sp>
      <p:grpSp>
        <p:nvGrpSpPr>
          <p:cNvPr id="21" name="グループ化 20">
            <a:extLst>
              <a:ext uri="{FF2B5EF4-FFF2-40B4-BE49-F238E27FC236}">
                <a16:creationId xmlns:a16="http://schemas.microsoft.com/office/drawing/2014/main" id="{38708770-A44D-466F-B440-B878BE191BEF}"/>
              </a:ext>
            </a:extLst>
          </p:cNvPr>
          <p:cNvGrpSpPr/>
          <p:nvPr/>
        </p:nvGrpSpPr>
        <p:grpSpPr>
          <a:xfrm>
            <a:off x="1366128" y="1393417"/>
            <a:ext cx="8123945" cy="212515"/>
            <a:chOff x="4137276" y="878013"/>
            <a:chExt cx="5352799" cy="257143"/>
          </a:xfrm>
        </p:grpSpPr>
        <p:sp>
          <p:nvSpPr>
            <p:cNvPr id="24" name="矢印: 五方向 23">
              <a:extLst>
                <a:ext uri="{FF2B5EF4-FFF2-40B4-BE49-F238E27FC236}">
                  <a16:creationId xmlns:a16="http://schemas.microsoft.com/office/drawing/2014/main" id="{D1CE61A6-0E5F-4301-93CE-F2282BF87634}"/>
                </a:ext>
              </a:extLst>
            </p:cNvPr>
            <p:cNvSpPr/>
            <p:nvPr/>
          </p:nvSpPr>
          <p:spPr>
            <a:xfrm>
              <a:off x="4137276" y="878013"/>
              <a:ext cx="2657464" cy="257143"/>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solidFill>
                    <a:schemeClr val="bg1"/>
                  </a:solidFill>
                  <a:latin typeface="Yu Gothic UI" panose="020B0500000000000000" pitchFamily="50" charset="-128"/>
                  <a:ea typeface="Yu Gothic UI" panose="020B0500000000000000" pitchFamily="50" charset="-128"/>
                </a:rPr>
                <a:t>令和</a:t>
              </a:r>
              <a:r>
                <a:rPr kumimoji="1" lang="en-US" altLang="ja-JP" sz="1100" b="1">
                  <a:solidFill>
                    <a:schemeClr val="bg1"/>
                  </a:solidFill>
                  <a:latin typeface="Yu Gothic UI" panose="020B0500000000000000" pitchFamily="50" charset="-128"/>
                  <a:ea typeface="Yu Gothic UI" panose="020B0500000000000000" pitchFamily="50" charset="-128"/>
                </a:rPr>
                <a:t>5</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sp>
          <p:nvSpPr>
            <p:cNvPr id="27" name="矢印: 五方向 26">
              <a:extLst>
                <a:ext uri="{FF2B5EF4-FFF2-40B4-BE49-F238E27FC236}">
                  <a16:creationId xmlns:a16="http://schemas.microsoft.com/office/drawing/2014/main" id="{3A37E205-E6CC-40E6-B9AD-6A93A6EB96E9}"/>
                </a:ext>
              </a:extLst>
            </p:cNvPr>
            <p:cNvSpPr/>
            <p:nvPr/>
          </p:nvSpPr>
          <p:spPr>
            <a:xfrm>
              <a:off x="6832611" y="878013"/>
              <a:ext cx="2657464" cy="257143"/>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solidFill>
                    <a:schemeClr val="bg1"/>
                  </a:solidFill>
                  <a:latin typeface="Yu Gothic UI" panose="020B0500000000000000" pitchFamily="50" charset="-128"/>
                  <a:ea typeface="Yu Gothic UI" panose="020B0500000000000000" pitchFamily="50" charset="-128"/>
                </a:rPr>
                <a:t>令和</a:t>
              </a:r>
              <a:r>
                <a:rPr kumimoji="1" lang="en-US" altLang="ja-JP" sz="1100" b="1">
                  <a:solidFill>
                    <a:schemeClr val="bg1"/>
                  </a:solidFill>
                  <a:latin typeface="Yu Gothic UI" panose="020B0500000000000000" pitchFamily="50" charset="-128"/>
                  <a:ea typeface="Yu Gothic UI" panose="020B0500000000000000" pitchFamily="50" charset="-128"/>
                </a:rPr>
                <a:t>6</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grpSp>
      <p:sp>
        <p:nvSpPr>
          <p:cNvPr id="28" name="正方形/長方形 27">
            <a:extLst>
              <a:ext uri="{FF2B5EF4-FFF2-40B4-BE49-F238E27FC236}">
                <a16:creationId xmlns:a16="http://schemas.microsoft.com/office/drawing/2014/main" id="{A2F2418B-EFB3-4E6C-8A6C-72B22E468AA2}"/>
              </a:ext>
            </a:extLst>
          </p:cNvPr>
          <p:cNvSpPr/>
          <p:nvPr/>
        </p:nvSpPr>
        <p:spPr bwMode="gray">
          <a:xfrm>
            <a:off x="1686244" y="2504678"/>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29" name="正方形/長方形 28">
            <a:extLst>
              <a:ext uri="{FF2B5EF4-FFF2-40B4-BE49-F238E27FC236}">
                <a16:creationId xmlns:a16="http://schemas.microsoft.com/office/drawing/2014/main" id="{9E83A618-95DC-4AB0-888C-8CFAE801908B}"/>
              </a:ext>
            </a:extLst>
          </p:cNvPr>
          <p:cNvSpPr/>
          <p:nvPr/>
        </p:nvSpPr>
        <p:spPr bwMode="gray">
          <a:xfrm>
            <a:off x="5770805" y="2504678"/>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30" name="テキスト ボックス 29">
            <a:extLst>
              <a:ext uri="{FF2B5EF4-FFF2-40B4-BE49-F238E27FC236}">
                <a16:creationId xmlns:a16="http://schemas.microsoft.com/office/drawing/2014/main" id="{CDAF74AF-7C4D-4724-B051-6ABB078C7F01}"/>
              </a:ext>
            </a:extLst>
          </p:cNvPr>
          <p:cNvSpPr txBox="1"/>
          <p:nvPr/>
        </p:nvSpPr>
        <p:spPr>
          <a:xfrm rot="20118198">
            <a:off x="3721572" y="3418845"/>
            <a:ext cx="3224185" cy="331761"/>
          </a:xfrm>
          <a:prstGeom prst="rect">
            <a:avLst/>
          </a:prstGeom>
          <a:noFill/>
          <a:ln w="12700">
            <a:noFill/>
          </a:ln>
        </p:spPr>
        <p:txBody>
          <a:bodyPr wrap="square" lIns="51429" tIns="51429" rIns="51429" bIns="51429" rtlCol="0" anchor="ctr" anchorCtr="0">
            <a:noAutofit/>
          </a:bodyPr>
          <a:lstStyle/>
          <a:p>
            <a:pPr algn="ctr"/>
            <a:r>
              <a:rPr kumimoji="1" lang="en-US" altLang="ja-JP" sz="2800" b="1">
                <a:solidFill>
                  <a:srgbClr val="C00000"/>
                </a:solidFill>
                <a:latin typeface="Arial" panose="020B0604020202020204" pitchFamily="34" charset="0"/>
                <a:cs typeface="Arial" panose="020B0604020202020204" pitchFamily="34" charset="0"/>
              </a:rPr>
              <a:t>Sample</a:t>
            </a:r>
            <a:endParaRPr kumimoji="1" lang="ja-JP" altLang="en-US" sz="2800" b="1">
              <a:solidFill>
                <a:srgbClr val="C00000"/>
              </a:solidFill>
              <a:latin typeface="Arial" panose="020B0604020202020204" pitchFamily="34" charset="0"/>
              <a:cs typeface="Arial" panose="020B0604020202020204" pitchFamily="34" charset="0"/>
            </a:endParaRPr>
          </a:p>
        </p:txBody>
      </p:sp>
      <p:sp>
        <p:nvSpPr>
          <p:cNvPr id="16" name="正方形/長方形 15">
            <a:extLst>
              <a:ext uri="{FF2B5EF4-FFF2-40B4-BE49-F238E27FC236}">
                <a16:creationId xmlns:a16="http://schemas.microsoft.com/office/drawing/2014/main" id="{C22543E2-185E-42A4-BAC0-60606F844EA9}"/>
              </a:ext>
            </a:extLst>
          </p:cNvPr>
          <p:cNvSpPr/>
          <p:nvPr/>
        </p:nvSpPr>
        <p:spPr bwMode="gray">
          <a:xfrm>
            <a:off x="415926" y="3265313"/>
            <a:ext cx="854160" cy="1479625"/>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構成員</a:t>
            </a:r>
            <a:r>
              <a:rPr kumimoji="1" lang="en-US" altLang="ja-JP" sz="1200" b="1" i="0" u="none" strike="noStrike" kern="1200" cap="none" spc="0" normalizeH="0" baseline="0" noProof="0">
                <a:ln>
                  <a:noFill/>
                </a:ln>
                <a:solidFill>
                  <a:prstClr val="black"/>
                </a:solidFill>
                <a:effectLst/>
                <a:uLnTx/>
                <a:uFillTx/>
                <a:latin typeface="Open Sans"/>
                <a:ea typeface="Yu Gothic UI"/>
                <a:cs typeface="Arial" charset="0"/>
              </a:rPr>
              <a:t>PJ</a:t>
            </a: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 </a:t>
            </a:r>
            <a:r>
              <a:rPr kumimoji="1" lang="en-US" altLang="ja-JP" sz="1200" b="1" i="0" u="none" strike="noStrike" kern="1200" cap="none" spc="0" normalizeH="0" baseline="0" noProof="0">
                <a:ln>
                  <a:noFill/>
                </a:ln>
                <a:solidFill>
                  <a:prstClr val="black"/>
                </a:solidFill>
                <a:effectLst/>
                <a:uLnTx/>
                <a:uFillTx/>
                <a:latin typeface="Open Sans"/>
                <a:ea typeface="Yu Gothic UI"/>
                <a:cs typeface="Arial" charset="0"/>
              </a:rPr>
              <a:t>A</a:t>
            </a:r>
            <a:endParaRPr kumimoji="1" lang="en-US" altLang="ja-JP" sz="1200" b="1">
              <a:latin typeface="+mn-lt"/>
              <a:cs typeface="+mn-cs"/>
            </a:endParaRPr>
          </a:p>
        </p:txBody>
      </p:sp>
      <p:sp>
        <p:nvSpPr>
          <p:cNvPr id="22" name="Rectangle 18">
            <a:extLst>
              <a:ext uri="{FF2B5EF4-FFF2-40B4-BE49-F238E27FC236}">
                <a16:creationId xmlns:a16="http://schemas.microsoft.com/office/drawing/2014/main" id="{AEBABBCB-43F1-4302-B216-9D569A91F0D9}"/>
              </a:ext>
            </a:extLst>
          </p:cNvPr>
          <p:cNvSpPr>
            <a:spLocks noChangeArrowheads="1"/>
          </p:cNvSpPr>
          <p:nvPr/>
        </p:nvSpPr>
        <p:spPr bwMode="gray">
          <a:xfrm>
            <a:off x="1359761" y="3265313"/>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信号機等とのインフラ協調を可能にした管制</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開発、ユースケースにおける</a:t>
            </a:r>
            <a:r>
              <a:rPr lang="en-US" altLang="ja-JP" sz="1200">
                <a:latin typeface="Yu Gothic UI" panose="020B0500000000000000" pitchFamily="50" charset="-128"/>
                <a:ea typeface="Yu Gothic UI" panose="020B0500000000000000" pitchFamily="50" charset="-128"/>
              </a:rPr>
              <a:t>PoC</a:t>
            </a: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134" lvl="1">
              <a:lnSpc>
                <a:spcPct val="106000"/>
              </a:lnSpc>
              <a:spcBef>
                <a:spcPts val="214"/>
              </a:spcBef>
              <a:buClr>
                <a:schemeClr val="tx1"/>
              </a:buClr>
            </a:pPr>
            <a:endParaRPr lang="en-US" altLang="ja-JP" sz="1200">
              <a:latin typeface="Yu Gothic UI" panose="020B0500000000000000" pitchFamily="50" charset="-128"/>
              <a:ea typeface="Yu Gothic UI" panose="020B0500000000000000" pitchFamily="50" charset="-128"/>
            </a:endParaRPr>
          </a:p>
        </p:txBody>
      </p:sp>
      <p:sp>
        <p:nvSpPr>
          <p:cNvPr id="23" name="Rectangle 18">
            <a:extLst>
              <a:ext uri="{FF2B5EF4-FFF2-40B4-BE49-F238E27FC236}">
                <a16:creationId xmlns:a16="http://schemas.microsoft.com/office/drawing/2014/main" id="{D28DA1F9-84B3-4970-996B-26D115882353}"/>
              </a:ext>
            </a:extLst>
          </p:cNvPr>
          <p:cNvSpPr>
            <a:spLocks noChangeArrowheads="1"/>
          </p:cNvSpPr>
          <p:nvPr/>
        </p:nvSpPr>
        <p:spPr bwMode="gray">
          <a:xfrm>
            <a:off x="5463813" y="3268098"/>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信号機等とのインフラ協調を可能にした管制</a:t>
            </a:r>
            <a:r>
              <a:rPr lang="en-US" altLang="ja-JP" sz="1200">
                <a:latin typeface="Yu Gothic UI" panose="020B0500000000000000" pitchFamily="50" charset="-128"/>
                <a:ea typeface="Yu Gothic UI" panose="020B0500000000000000" pitchFamily="50" charset="-128"/>
              </a:rPr>
              <a:t>P/F</a:t>
            </a:r>
            <a:r>
              <a:rPr lang="ja-JP" altLang="en-US" sz="1200">
                <a:latin typeface="Yu Gothic UI" panose="020B0500000000000000" pitchFamily="50" charset="-128"/>
                <a:ea typeface="Yu Gothic UI" panose="020B0500000000000000" pitchFamily="50" charset="-128"/>
              </a:rPr>
              <a:t>の運用</a:t>
            </a: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p:txBody>
      </p:sp>
      <p:sp>
        <p:nvSpPr>
          <p:cNvPr id="25" name="正方形/長方形 24">
            <a:extLst>
              <a:ext uri="{FF2B5EF4-FFF2-40B4-BE49-F238E27FC236}">
                <a16:creationId xmlns:a16="http://schemas.microsoft.com/office/drawing/2014/main" id="{7E26F40E-7526-492F-83A4-C22C3954D76F}"/>
              </a:ext>
            </a:extLst>
          </p:cNvPr>
          <p:cNvSpPr/>
          <p:nvPr/>
        </p:nvSpPr>
        <p:spPr bwMode="gray">
          <a:xfrm>
            <a:off x="1686244" y="4065856"/>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26" name="正方形/長方形 25">
            <a:extLst>
              <a:ext uri="{FF2B5EF4-FFF2-40B4-BE49-F238E27FC236}">
                <a16:creationId xmlns:a16="http://schemas.microsoft.com/office/drawing/2014/main" id="{91E40C5B-A482-4BE7-B099-68148F4CBD10}"/>
              </a:ext>
            </a:extLst>
          </p:cNvPr>
          <p:cNvSpPr/>
          <p:nvPr/>
        </p:nvSpPr>
        <p:spPr bwMode="gray">
          <a:xfrm>
            <a:off x="5770805" y="4065856"/>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31" name="正方形/長方形 30">
            <a:extLst>
              <a:ext uri="{FF2B5EF4-FFF2-40B4-BE49-F238E27FC236}">
                <a16:creationId xmlns:a16="http://schemas.microsoft.com/office/drawing/2014/main" id="{15FC2D0B-6EE8-4C08-A070-FCE15F07E9F3}"/>
              </a:ext>
            </a:extLst>
          </p:cNvPr>
          <p:cNvSpPr/>
          <p:nvPr/>
        </p:nvSpPr>
        <p:spPr bwMode="gray">
          <a:xfrm>
            <a:off x="415926" y="4823706"/>
            <a:ext cx="854160" cy="1479625"/>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構成員</a:t>
            </a:r>
            <a:r>
              <a:rPr kumimoji="1" lang="en-US" altLang="ja-JP" sz="1200" b="1" i="0" u="none" strike="noStrike" kern="1200" cap="none" spc="0" normalizeH="0" baseline="0" noProof="0">
                <a:ln>
                  <a:noFill/>
                </a:ln>
                <a:solidFill>
                  <a:prstClr val="black"/>
                </a:solidFill>
                <a:effectLst/>
                <a:uLnTx/>
                <a:uFillTx/>
                <a:latin typeface="Open Sans"/>
                <a:ea typeface="Yu Gothic UI"/>
                <a:cs typeface="Arial" charset="0"/>
              </a:rPr>
              <a:t>PJ</a:t>
            </a:r>
            <a:r>
              <a:rPr kumimoji="1" lang="ja-JP" altLang="en-US" sz="1200" b="1" i="0" u="none" strike="noStrike" kern="1200" cap="none" spc="0" normalizeH="0" baseline="0" noProof="0">
                <a:ln>
                  <a:noFill/>
                </a:ln>
                <a:solidFill>
                  <a:prstClr val="black"/>
                </a:solidFill>
                <a:effectLst/>
                <a:uLnTx/>
                <a:uFillTx/>
                <a:latin typeface="Open Sans"/>
                <a:ea typeface="Yu Gothic UI"/>
                <a:cs typeface="Arial" charset="0"/>
              </a:rPr>
              <a:t> </a:t>
            </a:r>
            <a:r>
              <a:rPr kumimoji="1" lang="en-US" altLang="ja-JP" sz="1200" b="1">
                <a:solidFill>
                  <a:prstClr val="black"/>
                </a:solidFill>
                <a:latin typeface="Open Sans"/>
                <a:ea typeface="Yu Gothic UI"/>
              </a:rPr>
              <a:t>B</a:t>
            </a:r>
            <a:endParaRPr kumimoji="1" lang="en-US" altLang="ja-JP" sz="1200" b="1">
              <a:latin typeface="+mn-lt"/>
              <a:cs typeface="+mn-cs"/>
            </a:endParaRPr>
          </a:p>
        </p:txBody>
      </p:sp>
      <p:sp>
        <p:nvSpPr>
          <p:cNvPr id="32" name="Rectangle 18">
            <a:extLst>
              <a:ext uri="{FF2B5EF4-FFF2-40B4-BE49-F238E27FC236}">
                <a16:creationId xmlns:a16="http://schemas.microsoft.com/office/drawing/2014/main" id="{CCC52D8F-E05F-49CE-BD35-82C468623BD5}"/>
              </a:ext>
            </a:extLst>
          </p:cNvPr>
          <p:cNvSpPr>
            <a:spLocks noChangeArrowheads="1"/>
          </p:cNvSpPr>
          <p:nvPr/>
        </p:nvSpPr>
        <p:spPr bwMode="gray">
          <a:xfrm>
            <a:off x="1359761" y="4823706"/>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134" lvl="1">
              <a:lnSpc>
                <a:spcPct val="106000"/>
              </a:lnSpc>
              <a:spcBef>
                <a:spcPts val="214"/>
              </a:spcBef>
              <a:buClr>
                <a:schemeClr val="tx1"/>
              </a:buClr>
            </a:pPr>
            <a:endParaRPr lang="en-US" altLang="ja-JP" sz="1200">
              <a:latin typeface="Yu Gothic UI" panose="020B0500000000000000" pitchFamily="50" charset="-128"/>
              <a:ea typeface="Yu Gothic UI" panose="020B0500000000000000" pitchFamily="50" charset="-128"/>
            </a:endParaRPr>
          </a:p>
        </p:txBody>
      </p:sp>
      <p:sp>
        <p:nvSpPr>
          <p:cNvPr id="33" name="Rectangle 18">
            <a:extLst>
              <a:ext uri="{FF2B5EF4-FFF2-40B4-BE49-F238E27FC236}">
                <a16:creationId xmlns:a16="http://schemas.microsoft.com/office/drawing/2014/main" id="{A5779CB6-475F-4631-A826-E0B46B154CC4}"/>
              </a:ext>
            </a:extLst>
          </p:cNvPr>
          <p:cNvSpPr>
            <a:spLocks noChangeArrowheads="1"/>
          </p:cNvSpPr>
          <p:nvPr/>
        </p:nvSpPr>
        <p:spPr bwMode="gray">
          <a:xfrm>
            <a:off x="5463813" y="4823706"/>
            <a:ext cx="4026263" cy="147962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a:p>
            <a:pPr marL="121333" lvl="1" indent="-120199">
              <a:lnSpc>
                <a:spcPct val="106000"/>
              </a:lnSpc>
              <a:spcBef>
                <a:spcPts val="214"/>
              </a:spcBef>
              <a:buClr>
                <a:schemeClr val="tx1"/>
              </a:buClr>
              <a:buFont typeface="Wingdings" pitchFamily="2" charset="2"/>
              <a:buChar char="n"/>
            </a:pPr>
            <a:endParaRPr lang="en-US" altLang="ja-JP" sz="1200">
              <a:latin typeface="Yu Gothic UI" panose="020B0500000000000000" pitchFamily="50" charset="-128"/>
              <a:ea typeface="Yu Gothic UI" panose="020B0500000000000000" pitchFamily="50" charset="-128"/>
            </a:endParaRPr>
          </a:p>
        </p:txBody>
      </p:sp>
      <p:sp>
        <p:nvSpPr>
          <p:cNvPr id="34" name="正方形/長方形 33">
            <a:extLst>
              <a:ext uri="{FF2B5EF4-FFF2-40B4-BE49-F238E27FC236}">
                <a16:creationId xmlns:a16="http://schemas.microsoft.com/office/drawing/2014/main" id="{070BAD18-BB1E-469B-AA02-0D37CC8805E4}"/>
              </a:ext>
            </a:extLst>
          </p:cNvPr>
          <p:cNvSpPr/>
          <p:nvPr/>
        </p:nvSpPr>
        <p:spPr bwMode="gray">
          <a:xfrm>
            <a:off x="1686244" y="5621464"/>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
        <p:nvSpPr>
          <p:cNvPr id="35" name="正方形/長方形 34">
            <a:extLst>
              <a:ext uri="{FF2B5EF4-FFF2-40B4-BE49-F238E27FC236}">
                <a16:creationId xmlns:a16="http://schemas.microsoft.com/office/drawing/2014/main" id="{C212AB9B-3407-4361-BC0C-5174456DCA0B}"/>
              </a:ext>
            </a:extLst>
          </p:cNvPr>
          <p:cNvSpPr/>
          <p:nvPr/>
        </p:nvSpPr>
        <p:spPr bwMode="gray">
          <a:xfrm>
            <a:off x="5770805" y="5621464"/>
            <a:ext cx="3405302" cy="62172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写真</a:t>
            </a:r>
          </a:p>
        </p:txBody>
      </p:sp>
    </p:spTree>
    <p:extLst>
      <p:ext uri="{BB962C8B-B14F-4D97-AF65-F5344CB8AC3E}">
        <p14:creationId xmlns:p14="http://schemas.microsoft.com/office/powerpoint/2010/main" val="1434538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AD6B6195-5AA0-495F-B3DB-E58F735DD21F}"/>
              </a:ext>
            </a:extLst>
          </p:cNvPr>
          <p:cNvGraphicFramePr>
            <a:graphicFrameLocks noChangeAspect="1"/>
          </p:cNvGraphicFramePr>
          <p:nvPr>
            <p:custDataLst>
              <p:tags r:id="rId1"/>
            </p:custDataLst>
            <p:extLst>
              <p:ext uri="{D42A27DB-BD31-4B8C-83A1-F6EECF244321}">
                <p14:modId xmlns:p14="http://schemas.microsoft.com/office/powerpoint/2010/main" val="1439339516"/>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AD6B6195-5AA0-495F-B3DB-E58F735DD21F}"/>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8.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の活動スケジュール</a:t>
            </a:r>
          </a:p>
        </p:txBody>
      </p:sp>
      <p:sp>
        <p:nvSpPr>
          <p:cNvPr id="20" name="スライド番号プレースホルダー 3">
            <a:extLst>
              <a:ext uri="{FF2B5EF4-FFF2-40B4-BE49-F238E27FC236}">
                <a16:creationId xmlns:a16="http://schemas.microsoft.com/office/drawing/2014/main" id="{55D99111-17A2-4052-8BE5-2094E2AE4CF1}"/>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6</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aphicFrame>
        <p:nvGraphicFramePr>
          <p:cNvPr id="17" name="表 8">
            <a:extLst>
              <a:ext uri="{FF2B5EF4-FFF2-40B4-BE49-F238E27FC236}">
                <a16:creationId xmlns:a16="http://schemas.microsoft.com/office/drawing/2014/main" id="{0BEEA107-2F77-4386-9F42-4ACFA7228B71}"/>
              </a:ext>
            </a:extLst>
          </p:cNvPr>
          <p:cNvGraphicFramePr>
            <a:graphicFrameLocks noGrp="1"/>
          </p:cNvGraphicFramePr>
          <p:nvPr>
            <p:extLst>
              <p:ext uri="{D42A27DB-BD31-4B8C-83A1-F6EECF244321}">
                <p14:modId xmlns:p14="http://schemas.microsoft.com/office/powerpoint/2010/main" val="3427559790"/>
              </p:ext>
            </p:extLst>
          </p:nvPr>
        </p:nvGraphicFramePr>
        <p:xfrm>
          <a:off x="415923" y="2064642"/>
          <a:ext cx="9071994" cy="4138251"/>
        </p:xfrm>
        <a:graphic>
          <a:graphicData uri="http://schemas.openxmlformats.org/drawingml/2006/table">
            <a:tbl>
              <a:tblPr firstRow="1" bandRow="1">
                <a:tableStyleId>{5C22544A-7EE6-4342-B048-85BDC9FD1C3A}</a:tableStyleId>
              </a:tblPr>
              <a:tblGrid>
                <a:gridCol w="907197">
                  <a:extLst>
                    <a:ext uri="{9D8B030D-6E8A-4147-A177-3AD203B41FA5}">
                      <a16:colId xmlns:a16="http://schemas.microsoft.com/office/drawing/2014/main" val="2485698945"/>
                    </a:ext>
                  </a:extLst>
                </a:gridCol>
                <a:gridCol w="907197">
                  <a:extLst>
                    <a:ext uri="{9D8B030D-6E8A-4147-A177-3AD203B41FA5}">
                      <a16:colId xmlns:a16="http://schemas.microsoft.com/office/drawing/2014/main" val="3185234325"/>
                    </a:ext>
                  </a:extLst>
                </a:gridCol>
                <a:gridCol w="362880">
                  <a:extLst>
                    <a:ext uri="{9D8B030D-6E8A-4147-A177-3AD203B41FA5}">
                      <a16:colId xmlns:a16="http://schemas.microsoft.com/office/drawing/2014/main" val="2781434554"/>
                    </a:ext>
                  </a:extLst>
                </a:gridCol>
                <a:gridCol w="362880">
                  <a:extLst>
                    <a:ext uri="{9D8B030D-6E8A-4147-A177-3AD203B41FA5}">
                      <a16:colId xmlns:a16="http://schemas.microsoft.com/office/drawing/2014/main" val="1184963833"/>
                    </a:ext>
                  </a:extLst>
                </a:gridCol>
                <a:gridCol w="362880">
                  <a:extLst>
                    <a:ext uri="{9D8B030D-6E8A-4147-A177-3AD203B41FA5}">
                      <a16:colId xmlns:a16="http://schemas.microsoft.com/office/drawing/2014/main" val="3551442486"/>
                    </a:ext>
                  </a:extLst>
                </a:gridCol>
                <a:gridCol w="362880">
                  <a:extLst>
                    <a:ext uri="{9D8B030D-6E8A-4147-A177-3AD203B41FA5}">
                      <a16:colId xmlns:a16="http://schemas.microsoft.com/office/drawing/2014/main" val="2615243954"/>
                    </a:ext>
                  </a:extLst>
                </a:gridCol>
                <a:gridCol w="362880">
                  <a:extLst>
                    <a:ext uri="{9D8B030D-6E8A-4147-A177-3AD203B41FA5}">
                      <a16:colId xmlns:a16="http://schemas.microsoft.com/office/drawing/2014/main" val="1728745679"/>
                    </a:ext>
                  </a:extLst>
                </a:gridCol>
                <a:gridCol w="362880">
                  <a:extLst>
                    <a:ext uri="{9D8B030D-6E8A-4147-A177-3AD203B41FA5}">
                      <a16:colId xmlns:a16="http://schemas.microsoft.com/office/drawing/2014/main" val="733879743"/>
                    </a:ext>
                  </a:extLst>
                </a:gridCol>
                <a:gridCol w="362880">
                  <a:extLst>
                    <a:ext uri="{9D8B030D-6E8A-4147-A177-3AD203B41FA5}">
                      <a16:colId xmlns:a16="http://schemas.microsoft.com/office/drawing/2014/main" val="2028582397"/>
                    </a:ext>
                  </a:extLst>
                </a:gridCol>
                <a:gridCol w="362880">
                  <a:extLst>
                    <a:ext uri="{9D8B030D-6E8A-4147-A177-3AD203B41FA5}">
                      <a16:colId xmlns:a16="http://schemas.microsoft.com/office/drawing/2014/main" val="4274813958"/>
                    </a:ext>
                  </a:extLst>
                </a:gridCol>
                <a:gridCol w="362880">
                  <a:extLst>
                    <a:ext uri="{9D8B030D-6E8A-4147-A177-3AD203B41FA5}">
                      <a16:colId xmlns:a16="http://schemas.microsoft.com/office/drawing/2014/main" val="709320025"/>
                    </a:ext>
                  </a:extLst>
                </a:gridCol>
                <a:gridCol w="362880">
                  <a:extLst>
                    <a:ext uri="{9D8B030D-6E8A-4147-A177-3AD203B41FA5}">
                      <a16:colId xmlns:a16="http://schemas.microsoft.com/office/drawing/2014/main" val="4164973166"/>
                    </a:ext>
                  </a:extLst>
                </a:gridCol>
                <a:gridCol w="362880">
                  <a:extLst>
                    <a:ext uri="{9D8B030D-6E8A-4147-A177-3AD203B41FA5}">
                      <a16:colId xmlns:a16="http://schemas.microsoft.com/office/drawing/2014/main" val="1107849314"/>
                    </a:ext>
                  </a:extLst>
                </a:gridCol>
                <a:gridCol w="362880">
                  <a:extLst>
                    <a:ext uri="{9D8B030D-6E8A-4147-A177-3AD203B41FA5}">
                      <a16:colId xmlns:a16="http://schemas.microsoft.com/office/drawing/2014/main" val="1734630777"/>
                    </a:ext>
                  </a:extLst>
                </a:gridCol>
                <a:gridCol w="362880">
                  <a:extLst>
                    <a:ext uri="{9D8B030D-6E8A-4147-A177-3AD203B41FA5}">
                      <a16:colId xmlns:a16="http://schemas.microsoft.com/office/drawing/2014/main" val="3413376762"/>
                    </a:ext>
                  </a:extLst>
                </a:gridCol>
                <a:gridCol w="362880">
                  <a:extLst>
                    <a:ext uri="{9D8B030D-6E8A-4147-A177-3AD203B41FA5}">
                      <a16:colId xmlns:a16="http://schemas.microsoft.com/office/drawing/2014/main" val="1250088285"/>
                    </a:ext>
                  </a:extLst>
                </a:gridCol>
                <a:gridCol w="362880">
                  <a:extLst>
                    <a:ext uri="{9D8B030D-6E8A-4147-A177-3AD203B41FA5}">
                      <a16:colId xmlns:a16="http://schemas.microsoft.com/office/drawing/2014/main" val="2845448939"/>
                    </a:ext>
                  </a:extLst>
                </a:gridCol>
                <a:gridCol w="362880">
                  <a:extLst>
                    <a:ext uri="{9D8B030D-6E8A-4147-A177-3AD203B41FA5}">
                      <a16:colId xmlns:a16="http://schemas.microsoft.com/office/drawing/2014/main" val="776468617"/>
                    </a:ext>
                  </a:extLst>
                </a:gridCol>
                <a:gridCol w="362880">
                  <a:extLst>
                    <a:ext uri="{9D8B030D-6E8A-4147-A177-3AD203B41FA5}">
                      <a16:colId xmlns:a16="http://schemas.microsoft.com/office/drawing/2014/main" val="3199328185"/>
                    </a:ext>
                  </a:extLst>
                </a:gridCol>
                <a:gridCol w="362880">
                  <a:extLst>
                    <a:ext uri="{9D8B030D-6E8A-4147-A177-3AD203B41FA5}">
                      <a16:colId xmlns:a16="http://schemas.microsoft.com/office/drawing/2014/main" val="1437145650"/>
                    </a:ext>
                  </a:extLst>
                </a:gridCol>
                <a:gridCol w="362880">
                  <a:extLst>
                    <a:ext uri="{9D8B030D-6E8A-4147-A177-3AD203B41FA5}">
                      <a16:colId xmlns:a16="http://schemas.microsoft.com/office/drawing/2014/main" val="529035127"/>
                    </a:ext>
                  </a:extLst>
                </a:gridCol>
                <a:gridCol w="362880">
                  <a:extLst>
                    <a:ext uri="{9D8B030D-6E8A-4147-A177-3AD203B41FA5}">
                      <a16:colId xmlns:a16="http://schemas.microsoft.com/office/drawing/2014/main" val="2944755711"/>
                    </a:ext>
                  </a:extLst>
                </a:gridCol>
              </a:tblGrid>
              <a:tr h="622089">
                <a:tc gridSpan="2">
                  <a:txBody>
                    <a:bodyPr/>
                    <a:lstStyle/>
                    <a:p>
                      <a:pPr algn="ctr"/>
                      <a:r>
                        <a:rPr kumimoji="1" lang="ja-JP" altLang="en-US" sz="1100" b="0">
                          <a:solidFill>
                            <a:schemeClr val="tx1"/>
                          </a:solidFill>
                          <a:latin typeface="+mn-lt"/>
                        </a:rPr>
                        <a:t>実施業務</a:t>
                      </a: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8">
                  <a:txBody>
                    <a:bodyPr/>
                    <a:lstStyle/>
                    <a:p>
                      <a:pPr algn="ctr"/>
                      <a:r>
                        <a:rPr kumimoji="1" lang="ja-JP" altLang="en-US" sz="1100" b="0">
                          <a:solidFill>
                            <a:schemeClr val="tx1"/>
                          </a:solidFill>
                          <a:latin typeface="+mn-lt"/>
                        </a:rPr>
                        <a:t>令和</a:t>
                      </a:r>
                      <a:r>
                        <a:rPr kumimoji="1" lang="en-US" altLang="ja-JP" sz="1100" b="0">
                          <a:solidFill>
                            <a:schemeClr val="tx1"/>
                          </a:solidFill>
                          <a:latin typeface="+mn-lt"/>
                        </a:rPr>
                        <a:t>5</a:t>
                      </a:r>
                      <a:r>
                        <a:rPr kumimoji="1" lang="ja-JP" altLang="en-US" sz="1100" b="0">
                          <a:solidFill>
                            <a:schemeClr val="tx1"/>
                          </a:solidFill>
                          <a:latin typeface="+mn-lt"/>
                        </a:rPr>
                        <a:t>年度</a:t>
                      </a: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pPr algn="ctr"/>
                      <a:endParaRPr kumimoji="1" lang="ja-JP" altLang="en-US" sz="1200" b="0">
                        <a:solidFill>
                          <a:schemeClr val="tx1"/>
                        </a:solidFill>
                        <a:latin typeface="+mn-lt"/>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12">
                  <a:txBody>
                    <a:bodyPr/>
                    <a:lstStyle/>
                    <a:p>
                      <a:pPr algn="ctr"/>
                      <a:r>
                        <a:rPr kumimoji="1" lang="ja-JP" altLang="en-US" sz="1100" b="0">
                          <a:solidFill>
                            <a:schemeClr val="tx1"/>
                          </a:solidFill>
                          <a:latin typeface="+mn-lt"/>
                        </a:rPr>
                        <a:t>令和</a:t>
                      </a:r>
                      <a:r>
                        <a:rPr kumimoji="1" lang="en-US" altLang="ja-JP" sz="1100" b="0">
                          <a:solidFill>
                            <a:schemeClr val="tx1"/>
                          </a:solidFill>
                          <a:latin typeface="+mn-lt"/>
                        </a:rPr>
                        <a:t>6</a:t>
                      </a:r>
                      <a:r>
                        <a:rPr kumimoji="1" lang="ja-JP" altLang="en-US" sz="1100" b="0">
                          <a:solidFill>
                            <a:schemeClr val="tx1"/>
                          </a:solidFill>
                          <a:latin typeface="+mn-lt"/>
                        </a:rPr>
                        <a:t>年度</a:t>
                      </a: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tc hMerge="1">
                  <a:txBody>
                    <a:bodyPr/>
                    <a:lstStyle/>
                    <a:p>
                      <a:pPr algn="ctr"/>
                      <a:endParaRPr kumimoji="1" lang="ja-JP" altLang="en-US" sz="1100" b="0">
                        <a:solidFill>
                          <a:schemeClr val="tx1"/>
                        </a:solidFill>
                        <a:latin typeface="+mn-lt"/>
                      </a:endParaRPr>
                    </a:p>
                  </a:txBody>
                  <a:tcPr marT="41564" marB="41564"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04744186"/>
                  </a:ext>
                </a:extLst>
              </a:tr>
              <a:tr h="270474">
                <a:tc>
                  <a:txBody>
                    <a:bodyPr/>
                    <a:lstStyle/>
                    <a:p>
                      <a:pPr algn="ctr" fontAlgn="ctr"/>
                      <a:r>
                        <a:rPr lang="ja-JP" altLang="en-US" sz="1100" b="0" i="0" u="none" strike="noStrike">
                          <a:solidFill>
                            <a:srgbClr val="000000"/>
                          </a:solidFill>
                          <a:effectLst/>
                          <a:latin typeface="+mn-lt"/>
                          <a:ea typeface="Yu Gothic UI" panose="020B0500000000000000" pitchFamily="50" charset="-128"/>
                        </a:rPr>
                        <a:t>大項目</a:t>
                      </a: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ja-JP" altLang="en-US" sz="1100" b="0" i="0" u="none" strike="noStrike">
                          <a:solidFill>
                            <a:srgbClr val="000000"/>
                          </a:solidFill>
                          <a:effectLst/>
                          <a:latin typeface="+mn-lt"/>
                          <a:ea typeface="Yu Gothic UI" panose="020B0500000000000000" pitchFamily="50" charset="-128"/>
                        </a:rPr>
                        <a:t>小項目</a:t>
                      </a: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8</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9</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0</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1</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2</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1</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2</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3</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4</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5</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6</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7</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8</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9</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0</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1</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fontAlgn="ctr"/>
                      <a:r>
                        <a:rPr lang="en-US" altLang="ja-JP" sz="900" b="0" i="0" u="none" strike="noStrike">
                          <a:solidFill>
                            <a:srgbClr val="000000"/>
                          </a:solidFill>
                          <a:effectLst/>
                          <a:latin typeface="+mn-lt"/>
                          <a:ea typeface="Yu Gothic UI" panose="020B0500000000000000" pitchFamily="50" charset="-128"/>
                        </a:rPr>
                        <a:t>12</a:t>
                      </a:r>
                      <a:r>
                        <a:rPr lang="ja-JP" altLang="en-US" sz="900" b="0" i="0" u="none" strike="noStrike">
                          <a:solidFill>
                            <a:srgbClr val="000000"/>
                          </a:solidFill>
                          <a:effectLst/>
                          <a:latin typeface="+mn-lt"/>
                          <a:ea typeface="Yu Gothic UI" panose="020B0500000000000000" pitchFamily="50" charset="-128"/>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1</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2</a:t>
                      </a:r>
                      <a:r>
                        <a:rPr kumimoji="1" lang="ja-JP" altLang="en-US" sz="900" b="0">
                          <a:solidFill>
                            <a:schemeClr val="tx1"/>
                          </a:solidFill>
                          <a:latin typeface="+mn-lt"/>
                        </a:rPr>
                        <a:t>月</a:t>
                      </a: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900" b="0">
                          <a:solidFill>
                            <a:schemeClr val="tx1"/>
                          </a:solidFill>
                          <a:latin typeface="+mn-lt"/>
                        </a:rPr>
                        <a:t>3</a:t>
                      </a:r>
                      <a:r>
                        <a:rPr kumimoji="1" lang="ja-JP" altLang="en-US" sz="900" b="0">
                          <a:solidFill>
                            <a:schemeClr val="tx1"/>
                          </a:solidFill>
                          <a:latin typeface="+mn-lt"/>
                        </a:rPr>
                        <a:t>月</a:t>
                      </a:r>
                      <a:endParaRPr kumimoji="1" lang="en-US" altLang="ja-JP" sz="900" b="0">
                        <a:solidFill>
                          <a:schemeClr val="tx1"/>
                        </a:solidFill>
                        <a:latin typeface="+mn-lt"/>
                      </a:endParaRPr>
                    </a:p>
                  </a:txBody>
                  <a:tcPr marL="0" marR="0" marT="0"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40480832"/>
                  </a:ext>
                </a:extLst>
              </a:tr>
              <a:tr h="270474">
                <a:tc rowSpan="3">
                  <a:txBody>
                    <a:bodyPr/>
                    <a:lstStyle/>
                    <a:p>
                      <a:pPr algn="ctr" fontAlgn="ctr"/>
                      <a:r>
                        <a:rPr lang="ja-JP" altLang="en-US" sz="1100" b="0" i="0" u="none" strike="noStrike">
                          <a:solidFill>
                            <a:srgbClr val="000000"/>
                          </a:solidFill>
                          <a:effectLst/>
                          <a:latin typeface="+mn-lt"/>
                          <a:ea typeface="Yu Gothic UI" panose="020B0500000000000000" pitchFamily="50" charset="-128"/>
                        </a:rPr>
                        <a:t>リーダー</a:t>
                      </a:r>
                      <a:r>
                        <a:rPr lang="en-US" altLang="ja-JP" sz="1100" b="0" i="0" u="none" strike="noStrike">
                          <a:solidFill>
                            <a:srgbClr val="000000"/>
                          </a:solidFill>
                          <a:effectLst/>
                          <a:latin typeface="+mn-lt"/>
                          <a:ea typeface="Yu Gothic UI" panose="020B0500000000000000" pitchFamily="50" charset="-128"/>
                        </a:rPr>
                        <a:t>PJ</a:t>
                      </a:r>
                      <a:endParaRPr lang="af-ZA" altLang="ja-JP"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af-ZA" altLang="ja-JP"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3873538"/>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56603923"/>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95127700"/>
                  </a:ext>
                </a:extLst>
              </a:tr>
              <a:tr h="270474">
                <a:tc rowSpan="3">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n-lt"/>
                          <a:ea typeface="Yu Gothic UI" panose="020B0500000000000000" pitchFamily="50" charset="-128"/>
                        </a:rPr>
                        <a:t>構成員</a:t>
                      </a:r>
                      <a:r>
                        <a:rPr lang="en-US" altLang="ja-JP" sz="1100" b="0" i="0" u="none" strike="noStrike">
                          <a:solidFill>
                            <a:srgbClr val="000000"/>
                          </a:solidFill>
                          <a:effectLst/>
                          <a:latin typeface="+mn-lt"/>
                          <a:ea typeface="Yu Gothic UI" panose="020B0500000000000000" pitchFamily="50" charset="-128"/>
                        </a:rPr>
                        <a:t>PJ A</a:t>
                      </a:r>
                      <a:endParaRPr lang="zh-CN" altLang="en-US"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96856671"/>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1203644"/>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zh-CN" altLang="en-US" sz="1100" b="0" i="0" u="none" strike="noStrike" kern="1200">
                        <a:solidFill>
                          <a:srgbClr val="000000"/>
                        </a:solidFill>
                        <a:effectLst/>
                        <a:latin typeface="+mn-lt"/>
                        <a:ea typeface="Yu Gothic UI" panose="020B0500000000000000" pitchFamily="50" charset="-128"/>
                        <a:cs typeface="+mn-cs"/>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ja-JP" altLang="en-US"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marL="0" algn="ctr" defTabSz="990564" rtl="0" eaLnBrk="1" fontAlgn="ctr" latinLnBrk="0" hangingPunct="1"/>
                      <a:endParaRPr kumimoji="1" lang="en-US" altLang="ja-JP" sz="1100" b="0" i="0" u="none" strike="noStrike" kern="1200">
                        <a:solidFill>
                          <a:srgbClr val="000000"/>
                        </a:solidFill>
                        <a:effectLst/>
                        <a:latin typeface="+mn-lt"/>
                        <a:ea typeface="Yu Gothic UI" panose="020B0500000000000000" pitchFamily="50" charset="-128"/>
                        <a:cs typeface="+mn-cs"/>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284313056"/>
                  </a:ext>
                </a:extLst>
              </a:tr>
              <a:tr h="270474">
                <a:tc rowSpan="3">
                  <a:txBody>
                    <a:bodyPr/>
                    <a:lstStyle/>
                    <a:p>
                      <a:pPr marL="0" marR="0" lvl="0" indent="0" algn="ctr" defTabSz="990564" rtl="0" eaLnBrk="1" fontAlgn="ctr" latinLnBrk="0" hangingPunct="1">
                        <a:lnSpc>
                          <a:spcPct val="100000"/>
                        </a:lnSpc>
                        <a:spcBef>
                          <a:spcPts val="0"/>
                        </a:spcBef>
                        <a:spcAft>
                          <a:spcPts val="0"/>
                        </a:spcAft>
                        <a:buClrTx/>
                        <a:buSzTx/>
                        <a:buFontTx/>
                        <a:buNone/>
                        <a:tabLst/>
                        <a:defRPr/>
                      </a:pPr>
                      <a:r>
                        <a:rPr lang="ja-JP" altLang="en-US" sz="1100" b="0" i="0" u="none" strike="noStrike">
                          <a:solidFill>
                            <a:srgbClr val="000000"/>
                          </a:solidFill>
                          <a:effectLst/>
                          <a:latin typeface="+mn-lt"/>
                          <a:ea typeface="Yu Gothic UI" panose="020B0500000000000000" pitchFamily="50" charset="-128"/>
                        </a:rPr>
                        <a:t>構成員</a:t>
                      </a:r>
                      <a:r>
                        <a:rPr lang="en-US" altLang="ja-JP" sz="1100" b="0" i="0" u="none" strike="noStrike">
                          <a:solidFill>
                            <a:srgbClr val="000000"/>
                          </a:solidFill>
                          <a:effectLst/>
                          <a:latin typeface="+mn-lt"/>
                          <a:ea typeface="Yu Gothic UI" panose="020B0500000000000000" pitchFamily="50" charset="-128"/>
                        </a:rPr>
                        <a:t>PJ B</a:t>
                      </a:r>
                      <a:endParaRPr lang="zh-CN" altLang="en-US"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18928417"/>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16783278"/>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62225792"/>
                  </a:ext>
                </a:extLst>
              </a:tr>
              <a:tr h="270474">
                <a:tc rowSpan="3">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7557"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76345432"/>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35227090"/>
                  </a:ext>
                </a:extLst>
              </a:tr>
              <a:tr h="270474">
                <a:tc vMerge="1">
                  <a:txBody>
                    <a:bodyPr/>
                    <a:lstStyle/>
                    <a:p>
                      <a:pPr algn="ctr" fontAlgn="ctr"/>
                      <a:endParaRPr lang="zh-CN" altLang="en-US" sz="1400" b="0" i="0" u="none" strike="noStrike">
                        <a:solidFill>
                          <a:srgbClr val="000000"/>
                        </a:solidFill>
                        <a:effectLst/>
                        <a:latin typeface="+mn-lt"/>
                        <a:ea typeface="Yu Gothic UI" panose="020B0500000000000000" pitchFamily="50" charset="-128"/>
                      </a:endParaRPr>
                    </a:p>
                  </a:txBody>
                  <a:tcPr marL="8313" marR="8313" marT="8313"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r>
                        <a:rPr lang="en-US" altLang="ja-JP" sz="1100" b="0" i="0" u="none" strike="noStrike">
                          <a:solidFill>
                            <a:srgbClr val="000000"/>
                          </a:solidFill>
                          <a:effectLst/>
                          <a:latin typeface="+mn-lt"/>
                          <a:ea typeface="Yu Gothic UI" panose="020B0500000000000000" pitchFamily="50" charset="-128"/>
                        </a:rPr>
                        <a:t>XXX</a:t>
                      </a: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fontAlgn="ctr"/>
                      <a:endParaRPr lang="zh-CN" altLang="en-US" sz="1100" b="0" i="0" u="none" strike="noStrike">
                        <a:solidFill>
                          <a:srgbClr val="000000"/>
                        </a:solidFill>
                        <a:effectLst/>
                        <a:latin typeface="+mn-lt"/>
                        <a:ea typeface="Yu Gothic UI" panose="020B0500000000000000" pitchFamily="50" charset="-128"/>
                      </a:endParaRPr>
                    </a:p>
                  </a:txBody>
                  <a:tcPr marL="8313" marR="8313" marT="6245" marB="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ja-JP" altLang="en-US"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kumimoji="1" lang="en-US" altLang="ja-JP" sz="1100" b="0">
                        <a:solidFill>
                          <a:schemeClr val="tx1"/>
                        </a:solidFill>
                        <a:latin typeface="+mn-lt"/>
                      </a:endParaRPr>
                    </a:p>
                  </a:txBody>
                  <a:tcPr marT="34350" marB="343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60502901"/>
                  </a:ext>
                </a:extLst>
              </a:tr>
            </a:tbl>
          </a:graphicData>
        </a:graphic>
      </p:graphicFrame>
      <p:sp>
        <p:nvSpPr>
          <p:cNvPr id="9" name="正方形/長方形 8">
            <a:extLst>
              <a:ext uri="{FF2B5EF4-FFF2-40B4-BE49-F238E27FC236}">
                <a16:creationId xmlns:a16="http://schemas.microsoft.com/office/drawing/2014/main" id="{561C2B30-68C3-46DC-B269-68272980BA22}"/>
              </a:ext>
            </a:extLst>
          </p:cNvPr>
          <p:cNvSpPr/>
          <p:nvPr/>
        </p:nvSpPr>
        <p:spPr>
          <a:xfrm>
            <a:off x="415925" y="612167"/>
            <a:ext cx="9072000" cy="729271"/>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PX</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記載した</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の実装イメージを達成するスケジュールについて</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全体</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スケジュール概要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1" name="正方形/長方形 10">
            <a:extLst>
              <a:ext uri="{FF2B5EF4-FFF2-40B4-BE49-F238E27FC236}">
                <a16:creationId xmlns:a16="http://schemas.microsoft.com/office/drawing/2014/main" id="{1DDD0757-C1D5-41DE-8300-832906AE102C}"/>
              </a:ext>
            </a:extLst>
          </p:cNvPr>
          <p:cNvSpPr/>
          <p:nvPr/>
        </p:nvSpPr>
        <p:spPr bwMode="gray">
          <a:xfrm>
            <a:off x="415925" y="1585181"/>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プロジェクトスケジュール</a:t>
            </a:r>
          </a:p>
        </p:txBody>
      </p:sp>
      <p:cxnSp>
        <p:nvCxnSpPr>
          <p:cNvPr id="12" name="直線コネクタ 11">
            <a:extLst>
              <a:ext uri="{FF2B5EF4-FFF2-40B4-BE49-F238E27FC236}">
                <a16:creationId xmlns:a16="http://schemas.microsoft.com/office/drawing/2014/main" id="{42BD70D1-8730-4700-80DC-BB52FCB2E5DD}"/>
              </a:ext>
            </a:extLst>
          </p:cNvPr>
          <p:cNvCxnSpPr>
            <a:cxnSpLocks/>
          </p:cNvCxnSpPr>
          <p:nvPr/>
        </p:nvCxnSpPr>
        <p:spPr bwMode="gray">
          <a:xfrm>
            <a:off x="415925" y="1945181"/>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3660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81118480-AC99-4AF7-88E6-E4119C1454C0}"/>
              </a:ext>
            </a:extLst>
          </p:cNvPr>
          <p:cNvGraphicFramePr>
            <a:graphicFrameLocks noChangeAspect="1"/>
          </p:cNvGraphicFramePr>
          <p:nvPr>
            <p:custDataLst>
              <p:tags r:id="rId1"/>
            </p:custDataLst>
            <p:extLst>
              <p:ext uri="{D42A27DB-BD31-4B8C-83A1-F6EECF244321}">
                <p14:modId xmlns:p14="http://schemas.microsoft.com/office/powerpoint/2010/main" val="1483334827"/>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81118480-AC99-4AF7-88E6-E4119C1454C0}"/>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8937C7D7-2391-4073-B301-FFD4AFD2353C}"/>
              </a:ext>
            </a:extLst>
          </p:cNvPr>
          <p:cNvSpPr>
            <a:spLocks noGrp="1"/>
          </p:cNvSpPr>
          <p:nvPr>
            <p:ph type="body" sz="quarter" idx="10"/>
          </p:nvPr>
        </p:nvSpPr>
        <p:spPr/>
        <p:txBody>
          <a:bodyPr/>
          <a:lstStyle/>
          <a:p>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その他要記載事項</a:t>
            </a:r>
          </a:p>
        </p:txBody>
      </p:sp>
    </p:spTree>
    <p:extLst>
      <p:ext uri="{BB962C8B-B14F-4D97-AF65-F5344CB8AC3E}">
        <p14:creationId xmlns:p14="http://schemas.microsoft.com/office/powerpoint/2010/main" val="3654010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2F4B4BCC-449C-45C1-8DE1-4F70440F7D1E}"/>
              </a:ext>
            </a:extLst>
          </p:cNvPr>
          <p:cNvGraphicFramePr>
            <a:graphicFrameLocks noChangeAspect="1"/>
          </p:cNvGraphicFramePr>
          <p:nvPr>
            <p:custDataLst>
              <p:tags r:id="rId1"/>
            </p:custDataLst>
            <p:extLst>
              <p:ext uri="{D42A27DB-BD31-4B8C-83A1-F6EECF244321}">
                <p14:modId xmlns:p14="http://schemas.microsoft.com/office/powerpoint/2010/main" val="1386731636"/>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2F4B4BCC-449C-45C1-8DE1-4F70440F7D1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7E7E9B42-8398-4BDC-9692-C88EB8558C99}"/>
              </a:ext>
            </a:extLst>
          </p:cNvPr>
          <p:cNvSpPr>
            <a:spLocks noGrp="1"/>
          </p:cNvSpPr>
          <p:nvPr>
            <p:ph type="body" sz="quarter" idx="16"/>
          </p:nvPr>
        </p:nvSpPr>
        <p:spPr/>
        <p:txBody>
          <a:bodyPr/>
          <a:lstStyle/>
          <a:p>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1. </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企画提案者の情報（</a:t>
            </a:r>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1/X</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a:t>
            </a:r>
          </a:p>
        </p:txBody>
      </p:sp>
      <p:sp>
        <p:nvSpPr>
          <p:cNvPr id="3" name="テキスト プレースホルダー 2">
            <a:extLst>
              <a:ext uri="{FF2B5EF4-FFF2-40B4-BE49-F238E27FC236}">
                <a16:creationId xmlns:a16="http://schemas.microsoft.com/office/drawing/2014/main" id="{8358686D-90A0-40DF-8B3E-15775492CE17}"/>
              </a:ext>
            </a:extLst>
          </p:cNvPr>
          <p:cNvSpPr>
            <a:spLocks noGrp="1"/>
          </p:cNvSpPr>
          <p:nvPr>
            <p:ph type="body" sz="quarter" idx="17"/>
          </p:nvPr>
        </p:nvSpPr>
        <p:spPr/>
        <p:txBody>
          <a:bodyPr>
            <a:normAutofit/>
          </a:bodyPr>
          <a:lstStyle/>
          <a:p>
            <a:pPr marL="263776" indent="-263776">
              <a:buFont typeface="Wingdings" panose="05000000000000000000" pitchFamily="2" charset="2"/>
              <a:buChar char="l"/>
            </a:pPr>
            <a:r>
              <a:rPr lang="ja-JP" altLang="en-US" sz="1200"/>
              <a:t>代表団体及び参加団体の情報を記載してください</a:t>
            </a:r>
            <a:endParaRPr lang="en-US" altLang="ja-JP" sz="1200"/>
          </a:p>
          <a:p>
            <a:pPr marL="263776" indent="-263776">
              <a:buFont typeface="Wingdings" panose="05000000000000000000" pitchFamily="2" charset="2"/>
              <a:buChar char="l"/>
            </a:pPr>
            <a:r>
              <a:rPr lang="ja-JP" altLang="en-US" sz="1200"/>
              <a:t>必要に応じてスライドを複製ください</a:t>
            </a:r>
          </a:p>
        </p:txBody>
      </p:sp>
      <p:sp>
        <p:nvSpPr>
          <p:cNvPr id="4" name="スライド番号プレースホルダー 3">
            <a:extLst>
              <a:ext uri="{FF2B5EF4-FFF2-40B4-BE49-F238E27FC236}">
                <a16:creationId xmlns:a16="http://schemas.microsoft.com/office/drawing/2014/main" id="{800BC23E-D1B6-4D12-AFEC-FDE01F6EE240}"/>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8</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5" name="テキスト ボックス 24">
            <a:extLst>
              <a:ext uri="{FF2B5EF4-FFF2-40B4-BE49-F238E27FC236}">
                <a16:creationId xmlns:a16="http://schemas.microsoft.com/office/drawing/2014/main" id="{88A6ED3B-28F9-49BC-93DC-43C03299EA64}"/>
              </a:ext>
            </a:extLst>
          </p:cNvPr>
          <p:cNvSpPr txBox="1"/>
          <p:nvPr/>
        </p:nvSpPr>
        <p:spPr bwMode="gray">
          <a:xfrm>
            <a:off x="764932" y="1625113"/>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代表団体情報</a:t>
            </a:r>
          </a:p>
        </p:txBody>
      </p:sp>
      <p:sp>
        <p:nvSpPr>
          <p:cNvPr id="26" name="正方形/長方形 25">
            <a:extLst>
              <a:ext uri="{FF2B5EF4-FFF2-40B4-BE49-F238E27FC236}">
                <a16:creationId xmlns:a16="http://schemas.microsoft.com/office/drawing/2014/main" id="{3FB414C2-E871-4FB6-912F-56C2B5E2804B}"/>
              </a:ext>
            </a:extLst>
          </p:cNvPr>
          <p:cNvSpPr/>
          <p:nvPr/>
        </p:nvSpPr>
        <p:spPr bwMode="gray">
          <a:xfrm>
            <a:off x="764932"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27" name="正方形/長方形 26">
            <a:extLst>
              <a:ext uri="{FF2B5EF4-FFF2-40B4-BE49-F238E27FC236}">
                <a16:creationId xmlns:a16="http://schemas.microsoft.com/office/drawing/2014/main" id="{B76B0744-DFD3-4E73-827F-39198BAA5BB9}"/>
              </a:ext>
            </a:extLst>
          </p:cNvPr>
          <p:cNvSpPr/>
          <p:nvPr/>
        </p:nvSpPr>
        <p:spPr bwMode="gray">
          <a:xfrm>
            <a:off x="764932"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28" name="正方形/長方形 27">
            <a:extLst>
              <a:ext uri="{FF2B5EF4-FFF2-40B4-BE49-F238E27FC236}">
                <a16:creationId xmlns:a16="http://schemas.microsoft.com/office/drawing/2014/main" id="{63D2797D-AD2D-4726-9035-60FA99B6E5BE}"/>
              </a:ext>
            </a:extLst>
          </p:cNvPr>
          <p:cNvSpPr/>
          <p:nvPr/>
        </p:nvSpPr>
        <p:spPr bwMode="gray">
          <a:xfrm>
            <a:off x="1727311"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9" name="正方形/長方形 28">
            <a:extLst>
              <a:ext uri="{FF2B5EF4-FFF2-40B4-BE49-F238E27FC236}">
                <a16:creationId xmlns:a16="http://schemas.microsoft.com/office/drawing/2014/main" id="{6C343DCA-4832-4989-9B26-674B7BF04063}"/>
              </a:ext>
            </a:extLst>
          </p:cNvPr>
          <p:cNvSpPr/>
          <p:nvPr/>
        </p:nvSpPr>
        <p:spPr bwMode="gray">
          <a:xfrm>
            <a:off x="764932"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30" name="正方形/長方形 29">
            <a:extLst>
              <a:ext uri="{FF2B5EF4-FFF2-40B4-BE49-F238E27FC236}">
                <a16:creationId xmlns:a16="http://schemas.microsoft.com/office/drawing/2014/main" id="{D60DF34C-9B5B-4EB5-A72E-DE1510F5DE93}"/>
              </a:ext>
            </a:extLst>
          </p:cNvPr>
          <p:cNvSpPr/>
          <p:nvPr/>
        </p:nvSpPr>
        <p:spPr bwMode="gray">
          <a:xfrm>
            <a:off x="1727311"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1" name="正方形/長方形 30">
            <a:extLst>
              <a:ext uri="{FF2B5EF4-FFF2-40B4-BE49-F238E27FC236}">
                <a16:creationId xmlns:a16="http://schemas.microsoft.com/office/drawing/2014/main" id="{CB1F44EC-636B-4A6C-A20F-65A8135B918B}"/>
              </a:ext>
            </a:extLst>
          </p:cNvPr>
          <p:cNvSpPr/>
          <p:nvPr/>
        </p:nvSpPr>
        <p:spPr bwMode="gray">
          <a:xfrm>
            <a:off x="764932"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2" name="正方形/長方形 31">
            <a:extLst>
              <a:ext uri="{FF2B5EF4-FFF2-40B4-BE49-F238E27FC236}">
                <a16:creationId xmlns:a16="http://schemas.microsoft.com/office/drawing/2014/main" id="{A3463944-6C52-4260-951C-0029BF32CEE3}"/>
              </a:ext>
            </a:extLst>
          </p:cNvPr>
          <p:cNvSpPr/>
          <p:nvPr/>
        </p:nvSpPr>
        <p:spPr bwMode="gray">
          <a:xfrm>
            <a:off x="1727311"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3" name="正方形/長方形 32">
            <a:extLst>
              <a:ext uri="{FF2B5EF4-FFF2-40B4-BE49-F238E27FC236}">
                <a16:creationId xmlns:a16="http://schemas.microsoft.com/office/drawing/2014/main" id="{08542FF6-2C91-4CDF-AF92-C2D7F1710BAA}"/>
              </a:ext>
            </a:extLst>
          </p:cNvPr>
          <p:cNvSpPr/>
          <p:nvPr/>
        </p:nvSpPr>
        <p:spPr bwMode="gray">
          <a:xfrm>
            <a:off x="764932"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34" name="正方形/長方形 33">
            <a:extLst>
              <a:ext uri="{FF2B5EF4-FFF2-40B4-BE49-F238E27FC236}">
                <a16:creationId xmlns:a16="http://schemas.microsoft.com/office/drawing/2014/main" id="{E33B27BC-CB96-4A6F-978F-1ED2058EE496}"/>
              </a:ext>
            </a:extLst>
          </p:cNvPr>
          <p:cNvSpPr/>
          <p:nvPr/>
        </p:nvSpPr>
        <p:spPr bwMode="gray">
          <a:xfrm>
            <a:off x="1727311"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35" name="正方形/長方形 34">
            <a:extLst>
              <a:ext uri="{FF2B5EF4-FFF2-40B4-BE49-F238E27FC236}">
                <a16:creationId xmlns:a16="http://schemas.microsoft.com/office/drawing/2014/main" id="{FCA760EA-6459-426E-8F3E-97F33CF829F1}"/>
              </a:ext>
            </a:extLst>
          </p:cNvPr>
          <p:cNvSpPr/>
          <p:nvPr/>
        </p:nvSpPr>
        <p:spPr bwMode="gray">
          <a:xfrm>
            <a:off x="1025682"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36" name="正方形/長方形 35">
            <a:extLst>
              <a:ext uri="{FF2B5EF4-FFF2-40B4-BE49-F238E27FC236}">
                <a16:creationId xmlns:a16="http://schemas.microsoft.com/office/drawing/2014/main" id="{EF9DC795-D9D2-4977-97FE-B9B15085731E}"/>
              </a:ext>
            </a:extLst>
          </p:cNvPr>
          <p:cNvSpPr/>
          <p:nvPr/>
        </p:nvSpPr>
        <p:spPr bwMode="gray">
          <a:xfrm>
            <a:off x="1025682"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37" name="正方形/長方形 36">
            <a:extLst>
              <a:ext uri="{FF2B5EF4-FFF2-40B4-BE49-F238E27FC236}">
                <a16:creationId xmlns:a16="http://schemas.microsoft.com/office/drawing/2014/main" id="{5CB176BE-C6FC-45EB-88EB-B62682C22ED9}"/>
              </a:ext>
            </a:extLst>
          </p:cNvPr>
          <p:cNvSpPr/>
          <p:nvPr/>
        </p:nvSpPr>
        <p:spPr bwMode="gray">
          <a:xfrm>
            <a:off x="1025682"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38" name="正方形/長方形 37">
            <a:extLst>
              <a:ext uri="{FF2B5EF4-FFF2-40B4-BE49-F238E27FC236}">
                <a16:creationId xmlns:a16="http://schemas.microsoft.com/office/drawing/2014/main" id="{12396947-725F-4418-AECF-97ECD4C3D55F}"/>
              </a:ext>
            </a:extLst>
          </p:cNvPr>
          <p:cNvSpPr/>
          <p:nvPr/>
        </p:nvSpPr>
        <p:spPr bwMode="gray">
          <a:xfrm>
            <a:off x="1025682"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39" name="正方形/長方形 38">
            <a:extLst>
              <a:ext uri="{FF2B5EF4-FFF2-40B4-BE49-F238E27FC236}">
                <a16:creationId xmlns:a16="http://schemas.microsoft.com/office/drawing/2014/main" id="{1AC30CE0-2141-43A9-B035-5AA9EC94381F}"/>
              </a:ext>
            </a:extLst>
          </p:cNvPr>
          <p:cNvSpPr/>
          <p:nvPr/>
        </p:nvSpPr>
        <p:spPr bwMode="gray">
          <a:xfrm>
            <a:off x="1025682"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40" name="正方形/長方形 39">
            <a:extLst>
              <a:ext uri="{FF2B5EF4-FFF2-40B4-BE49-F238E27FC236}">
                <a16:creationId xmlns:a16="http://schemas.microsoft.com/office/drawing/2014/main" id="{D17692BF-E88C-4F6C-92BA-E7397B3E5027}"/>
              </a:ext>
            </a:extLst>
          </p:cNvPr>
          <p:cNvSpPr/>
          <p:nvPr/>
        </p:nvSpPr>
        <p:spPr bwMode="gray">
          <a:xfrm>
            <a:off x="1727311"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1" name="正方形/長方形 40">
            <a:extLst>
              <a:ext uri="{FF2B5EF4-FFF2-40B4-BE49-F238E27FC236}">
                <a16:creationId xmlns:a16="http://schemas.microsoft.com/office/drawing/2014/main" id="{A1CF2A58-6A0E-480B-AB8B-B1CD4AB64630}"/>
              </a:ext>
            </a:extLst>
          </p:cNvPr>
          <p:cNvSpPr/>
          <p:nvPr/>
        </p:nvSpPr>
        <p:spPr bwMode="gray">
          <a:xfrm>
            <a:off x="1727311"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2" name="正方形/長方形 41">
            <a:extLst>
              <a:ext uri="{FF2B5EF4-FFF2-40B4-BE49-F238E27FC236}">
                <a16:creationId xmlns:a16="http://schemas.microsoft.com/office/drawing/2014/main" id="{F34B87C8-3439-47B8-B7C4-A2ABFAAA6D58}"/>
              </a:ext>
            </a:extLst>
          </p:cNvPr>
          <p:cNvSpPr/>
          <p:nvPr/>
        </p:nvSpPr>
        <p:spPr bwMode="gray">
          <a:xfrm>
            <a:off x="1727311"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3" name="正方形/長方形 42">
            <a:extLst>
              <a:ext uri="{FF2B5EF4-FFF2-40B4-BE49-F238E27FC236}">
                <a16:creationId xmlns:a16="http://schemas.microsoft.com/office/drawing/2014/main" id="{0EE12239-BAD9-47CA-8837-2722A802755E}"/>
              </a:ext>
            </a:extLst>
          </p:cNvPr>
          <p:cNvSpPr/>
          <p:nvPr/>
        </p:nvSpPr>
        <p:spPr bwMode="gray">
          <a:xfrm>
            <a:off x="1727311"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4" name="正方形/長方形 43">
            <a:extLst>
              <a:ext uri="{FF2B5EF4-FFF2-40B4-BE49-F238E27FC236}">
                <a16:creationId xmlns:a16="http://schemas.microsoft.com/office/drawing/2014/main" id="{E6D0CB74-F34E-46E0-AC79-222D6315949E}"/>
              </a:ext>
            </a:extLst>
          </p:cNvPr>
          <p:cNvSpPr/>
          <p:nvPr/>
        </p:nvSpPr>
        <p:spPr bwMode="gray">
          <a:xfrm>
            <a:off x="1727311"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5" name="テキスト ボックス 44">
            <a:extLst>
              <a:ext uri="{FF2B5EF4-FFF2-40B4-BE49-F238E27FC236}">
                <a16:creationId xmlns:a16="http://schemas.microsoft.com/office/drawing/2014/main" id="{CD41E970-D88A-4764-82CB-DF72B06E5CDD}"/>
              </a:ext>
            </a:extLst>
          </p:cNvPr>
          <p:cNvSpPr txBox="1"/>
          <p:nvPr/>
        </p:nvSpPr>
        <p:spPr bwMode="gray">
          <a:xfrm>
            <a:off x="5116604" y="1625113"/>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参加団体情報</a:t>
            </a:r>
          </a:p>
        </p:txBody>
      </p:sp>
      <p:sp>
        <p:nvSpPr>
          <p:cNvPr id="46" name="正方形/長方形 45">
            <a:extLst>
              <a:ext uri="{FF2B5EF4-FFF2-40B4-BE49-F238E27FC236}">
                <a16:creationId xmlns:a16="http://schemas.microsoft.com/office/drawing/2014/main" id="{A31C99E9-34E4-43CB-B5AA-C5E509FAA427}"/>
              </a:ext>
            </a:extLst>
          </p:cNvPr>
          <p:cNvSpPr/>
          <p:nvPr/>
        </p:nvSpPr>
        <p:spPr bwMode="gray">
          <a:xfrm>
            <a:off x="5116603"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47" name="正方形/長方形 46">
            <a:extLst>
              <a:ext uri="{FF2B5EF4-FFF2-40B4-BE49-F238E27FC236}">
                <a16:creationId xmlns:a16="http://schemas.microsoft.com/office/drawing/2014/main" id="{AD497678-0090-4F51-B192-9E910D04A2A9}"/>
              </a:ext>
            </a:extLst>
          </p:cNvPr>
          <p:cNvSpPr/>
          <p:nvPr/>
        </p:nvSpPr>
        <p:spPr bwMode="gray">
          <a:xfrm>
            <a:off x="5116604"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48" name="正方形/長方形 47">
            <a:extLst>
              <a:ext uri="{FF2B5EF4-FFF2-40B4-BE49-F238E27FC236}">
                <a16:creationId xmlns:a16="http://schemas.microsoft.com/office/drawing/2014/main" id="{82AD4CAA-5E9A-4EBA-BC9C-2D46AF03EB78}"/>
              </a:ext>
            </a:extLst>
          </p:cNvPr>
          <p:cNvSpPr/>
          <p:nvPr/>
        </p:nvSpPr>
        <p:spPr bwMode="gray">
          <a:xfrm>
            <a:off x="6078982"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9" name="正方形/長方形 48">
            <a:extLst>
              <a:ext uri="{FF2B5EF4-FFF2-40B4-BE49-F238E27FC236}">
                <a16:creationId xmlns:a16="http://schemas.microsoft.com/office/drawing/2014/main" id="{BD7FCDF1-15A8-4AE0-B168-947AB5445CF7}"/>
              </a:ext>
            </a:extLst>
          </p:cNvPr>
          <p:cNvSpPr/>
          <p:nvPr/>
        </p:nvSpPr>
        <p:spPr bwMode="gray">
          <a:xfrm>
            <a:off x="5116603"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50" name="正方形/長方形 49">
            <a:extLst>
              <a:ext uri="{FF2B5EF4-FFF2-40B4-BE49-F238E27FC236}">
                <a16:creationId xmlns:a16="http://schemas.microsoft.com/office/drawing/2014/main" id="{BED12513-7F76-4F45-9131-172D9AA8A685}"/>
              </a:ext>
            </a:extLst>
          </p:cNvPr>
          <p:cNvSpPr/>
          <p:nvPr/>
        </p:nvSpPr>
        <p:spPr bwMode="gray">
          <a:xfrm>
            <a:off x="6078982"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1" name="正方形/長方形 50">
            <a:extLst>
              <a:ext uri="{FF2B5EF4-FFF2-40B4-BE49-F238E27FC236}">
                <a16:creationId xmlns:a16="http://schemas.microsoft.com/office/drawing/2014/main" id="{48F0DCF1-3A3D-4109-B0FF-E2D4B26C355B}"/>
              </a:ext>
            </a:extLst>
          </p:cNvPr>
          <p:cNvSpPr/>
          <p:nvPr/>
        </p:nvSpPr>
        <p:spPr bwMode="gray">
          <a:xfrm>
            <a:off x="5116603"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2" name="正方形/長方形 51">
            <a:extLst>
              <a:ext uri="{FF2B5EF4-FFF2-40B4-BE49-F238E27FC236}">
                <a16:creationId xmlns:a16="http://schemas.microsoft.com/office/drawing/2014/main" id="{1431618B-2418-4EB0-83A6-D92D2CD0AA29}"/>
              </a:ext>
            </a:extLst>
          </p:cNvPr>
          <p:cNvSpPr/>
          <p:nvPr/>
        </p:nvSpPr>
        <p:spPr bwMode="gray">
          <a:xfrm>
            <a:off x="6078982"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3" name="正方形/長方形 52">
            <a:extLst>
              <a:ext uri="{FF2B5EF4-FFF2-40B4-BE49-F238E27FC236}">
                <a16:creationId xmlns:a16="http://schemas.microsoft.com/office/drawing/2014/main" id="{C019CED5-39D4-4291-976D-09FC4DFEEA6A}"/>
              </a:ext>
            </a:extLst>
          </p:cNvPr>
          <p:cNvSpPr/>
          <p:nvPr/>
        </p:nvSpPr>
        <p:spPr bwMode="gray">
          <a:xfrm>
            <a:off x="5116603"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54" name="正方形/長方形 53">
            <a:extLst>
              <a:ext uri="{FF2B5EF4-FFF2-40B4-BE49-F238E27FC236}">
                <a16:creationId xmlns:a16="http://schemas.microsoft.com/office/drawing/2014/main" id="{85260235-6CFB-4DF5-B76C-39C71ACCAC32}"/>
              </a:ext>
            </a:extLst>
          </p:cNvPr>
          <p:cNvSpPr/>
          <p:nvPr/>
        </p:nvSpPr>
        <p:spPr bwMode="gray">
          <a:xfrm>
            <a:off x="6078982"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55" name="正方形/長方形 54">
            <a:extLst>
              <a:ext uri="{FF2B5EF4-FFF2-40B4-BE49-F238E27FC236}">
                <a16:creationId xmlns:a16="http://schemas.microsoft.com/office/drawing/2014/main" id="{766FDFFE-A8A3-4686-97EB-A87CD31524A5}"/>
              </a:ext>
            </a:extLst>
          </p:cNvPr>
          <p:cNvSpPr/>
          <p:nvPr/>
        </p:nvSpPr>
        <p:spPr bwMode="gray">
          <a:xfrm>
            <a:off x="5377353"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56" name="正方形/長方形 55">
            <a:extLst>
              <a:ext uri="{FF2B5EF4-FFF2-40B4-BE49-F238E27FC236}">
                <a16:creationId xmlns:a16="http://schemas.microsoft.com/office/drawing/2014/main" id="{2C928733-6C54-4187-988F-F64CA0845549}"/>
              </a:ext>
            </a:extLst>
          </p:cNvPr>
          <p:cNvSpPr/>
          <p:nvPr/>
        </p:nvSpPr>
        <p:spPr bwMode="gray">
          <a:xfrm>
            <a:off x="5377353"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57" name="正方形/長方形 56">
            <a:extLst>
              <a:ext uri="{FF2B5EF4-FFF2-40B4-BE49-F238E27FC236}">
                <a16:creationId xmlns:a16="http://schemas.microsoft.com/office/drawing/2014/main" id="{4B368D55-176E-4F7A-87E0-D3E47E7A6B7C}"/>
              </a:ext>
            </a:extLst>
          </p:cNvPr>
          <p:cNvSpPr/>
          <p:nvPr/>
        </p:nvSpPr>
        <p:spPr bwMode="gray">
          <a:xfrm>
            <a:off x="5377353"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58" name="正方形/長方形 57">
            <a:extLst>
              <a:ext uri="{FF2B5EF4-FFF2-40B4-BE49-F238E27FC236}">
                <a16:creationId xmlns:a16="http://schemas.microsoft.com/office/drawing/2014/main" id="{BB14A08A-4080-4819-BB83-8A1BE7FA7C64}"/>
              </a:ext>
            </a:extLst>
          </p:cNvPr>
          <p:cNvSpPr/>
          <p:nvPr/>
        </p:nvSpPr>
        <p:spPr bwMode="gray">
          <a:xfrm>
            <a:off x="5377353"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59" name="正方形/長方形 58">
            <a:extLst>
              <a:ext uri="{FF2B5EF4-FFF2-40B4-BE49-F238E27FC236}">
                <a16:creationId xmlns:a16="http://schemas.microsoft.com/office/drawing/2014/main" id="{33E5450F-786C-4EB9-B9A3-6C262781C773}"/>
              </a:ext>
            </a:extLst>
          </p:cNvPr>
          <p:cNvSpPr/>
          <p:nvPr/>
        </p:nvSpPr>
        <p:spPr bwMode="gray">
          <a:xfrm>
            <a:off x="5377353"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60" name="正方形/長方形 59">
            <a:extLst>
              <a:ext uri="{FF2B5EF4-FFF2-40B4-BE49-F238E27FC236}">
                <a16:creationId xmlns:a16="http://schemas.microsoft.com/office/drawing/2014/main" id="{EB717634-0925-413C-9C5E-B37432F34BFE}"/>
              </a:ext>
            </a:extLst>
          </p:cNvPr>
          <p:cNvSpPr/>
          <p:nvPr/>
        </p:nvSpPr>
        <p:spPr bwMode="gray">
          <a:xfrm>
            <a:off x="6078982"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1" name="正方形/長方形 60">
            <a:extLst>
              <a:ext uri="{FF2B5EF4-FFF2-40B4-BE49-F238E27FC236}">
                <a16:creationId xmlns:a16="http://schemas.microsoft.com/office/drawing/2014/main" id="{08F5A8AA-436D-4EF7-A28D-650FB0B27533}"/>
              </a:ext>
            </a:extLst>
          </p:cNvPr>
          <p:cNvSpPr/>
          <p:nvPr/>
        </p:nvSpPr>
        <p:spPr bwMode="gray">
          <a:xfrm>
            <a:off x="6078982"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2" name="正方形/長方形 61">
            <a:extLst>
              <a:ext uri="{FF2B5EF4-FFF2-40B4-BE49-F238E27FC236}">
                <a16:creationId xmlns:a16="http://schemas.microsoft.com/office/drawing/2014/main" id="{8A962376-8F0F-4B57-9474-8DF61E5E589A}"/>
              </a:ext>
            </a:extLst>
          </p:cNvPr>
          <p:cNvSpPr/>
          <p:nvPr/>
        </p:nvSpPr>
        <p:spPr bwMode="gray">
          <a:xfrm>
            <a:off x="6078982"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3" name="正方形/長方形 62">
            <a:extLst>
              <a:ext uri="{FF2B5EF4-FFF2-40B4-BE49-F238E27FC236}">
                <a16:creationId xmlns:a16="http://schemas.microsoft.com/office/drawing/2014/main" id="{11B4C7C9-BDDF-48BB-BC44-EB7A625B48F2}"/>
              </a:ext>
            </a:extLst>
          </p:cNvPr>
          <p:cNvSpPr/>
          <p:nvPr/>
        </p:nvSpPr>
        <p:spPr bwMode="gray">
          <a:xfrm>
            <a:off x="6078982"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4" name="正方形/長方形 63">
            <a:extLst>
              <a:ext uri="{FF2B5EF4-FFF2-40B4-BE49-F238E27FC236}">
                <a16:creationId xmlns:a16="http://schemas.microsoft.com/office/drawing/2014/main" id="{87B5A63C-738C-4AD0-AF43-587844C4B30E}"/>
              </a:ext>
            </a:extLst>
          </p:cNvPr>
          <p:cNvSpPr/>
          <p:nvPr/>
        </p:nvSpPr>
        <p:spPr bwMode="gray">
          <a:xfrm>
            <a:off x="6078982"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015">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2446094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5" name="Group 155"/>
          <p:cNvGraphicFramePr>
            <a:graphicFrameLocks noGrp="1"/>
          </p:cNvGraphicFramePr>
          <p:nvPr>
            <p:ph sz="quarter" idx="10"/>
            <p:extLst>
              <p:ext uri="{D42A27DB-BD31-4B8C-83A1-F6EECF244321}">
                <p14:modId xmlns:p14="http://schemas.microsoft.com/office/powerpoint/2010/main" val="2545182632"/>
              </p:ext>
            </p:extLst>
          </p:nvPr>
        </p:nvGraphicFramePr>
        <p:xfrm>
          <a:off x="417513" y="1476375"/>
          <a:ext cx="4356000" cy="3953745"/>
        </p:xfrm>
        <a:graphic>
          <a:graphicData uri="http://schemas.openxmlformats.org/drawingml/2006/table">
            <a:tbl>
              <a:tblPr/>
              <a:tblGrid>
                <a:gridCol w="3609055">
                  <a:extLst>
                    <a:ext uri="{9D8B030D-6E8A-4147-A177-3AD203B41FA5}">
                      <a16:colId xmlns:a16="http://schemas.microsoft.com/office/drawing/2014/main" val="20000"/>
                    </a:ext>
                  </a:extLst>
                </a:gridCol>
                <a:gridCol w="746945">
                  <a:extLst>
                    <a:ext uri="{9D8B030D-6E8A-4147-A177-3AD203B41FA5}">
                      <a16:colId xmlns:a16="http://schemas.microsoft.com/office/drawing/2014/main" val="3548546487"/>
                    </a:ext>
                  </a:extLst>
                </a:gridCol>
              </a:tblGrid>
              <a:tr h="439305">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1200" b="1" i="0" u="none" strike="noStrike" cap="none" normalizeH="0" baseline="0">
                          <a:ln>
                            <a:noFill/>
                          </a:ln>
                          <a:solidFill>
                            <a:schemeClr val="tx1"/>
                          </a:solidFill>
                          <a:effectLst/>
                          <a:latin typeface="+mn-lt"/>
                          <a:ea typeface="+mn-ea"/>
                          <a:cs typeface="+mn-cs"/>
                          <a:sym typeface="+mn-lt"/>
                        </a:rPr>
                        <a:t>企画内容</a:t>
                      </a:r>
                      <a:r>
                        <a:rPr kumimoji="0" lang="en-US" altLang="ja-JP" sz="1200" b="0" i="0" u="none" strike="noStrike" cap="none" normalizeH="0" baseline="0">
                          <a:ln>
                            <a:noFill/>
                          </a:ln>
                          <a:solidFill>
                            <a:schemeClr val="tx1"/>
                          </a:solidFill>
                          <a:effectLst/>
                          <a:latin typeface="+mn-lt"/>
                          <a:ea typeface="+mn-ea"/>
                          <a:cs typeface="+mn-cs"/>
                          <a:sym typeface="+mn-lt"/>
                        </a:rPr>
                        <a:t>	</a:t>
                      </a:r>
                      <a:endParaRPr kumimoji="0" lang="en-US" altLang="ja-JP" sz="1200" b="1"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no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0" lang="en-US" altLang="ja-JP" sz="1200" b="1"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no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4577179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1.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サマリ</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66912371"/>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2.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目的</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85699635"/>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3. </a:t>
                      </a:r>
                      <a:r>
                        <a:rPr kumimoji="0" lang="ja-JP" altLang="en-US" sz="1200" b="0" i="0" u="none" strike="noStrike" cap="none" normalizeH="0" baseline="0">
                          <a:ln>
                            <a:noFill/>
                          </a:ln>
                          <a:solidFill>
                            <a:schemeClr val="tx1"/>
                          </a:solidFill>
                          <a:effectLst/>
                          <a:latin typeface="+mn-lt"/>
                          <a:ea typeface="+mn-ea"/>
                          <a:cs typeface="+mn-cs"/>
                          <a:sym typeface="+mn-lt"/>
                        </a:rPr>
                        <a:t>都市実装に向けたロードマップ・事業化イメージ</a:t>
                      </a:r>
                      <a:endParaRPr kumimoji="0" lang="ja-JP" altLang="en-US" sz="1200" b="1" i="0" u="sng" strike="noStrike" cap="none" normalizeH="0" baseline="0">
                        <a:ln>
                          <a:noFill/>
                        </a:ln>
                        <a:solidFill>
                          <a:schemeClr val="accent6"/>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ja-JP" altLang="en-US"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4164058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4. </a:t>
                      </a:r>
                      <a:r>
                        <a:rPr kumimoji="0" lang="ja-JP" altLang="en-US" sz="1200" b="0" i="0" u="none" strike="noStrike" cap="none" normalizeH="0" baseline="0">
                          <a:ln>
                            <a:noFill/>
                          </a:ln>
                          <a:solidFill>
                            <a:schemeClr val="tx1"/>
                          </a:solidFill>
                          <a:effectLst/>
                          <a:latin typeface="+mn-lt"/>
                          <a:ea typeface="+mn-ea"/>
                          <a:cs typeface="+mn-cs"/>
                          <a:sym typeface="+mn-lt"/>
                        </a:rPr>
                        <a:t>都市実装に向け認識している課題とその解決方針</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992670"/>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5.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内容</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98599873"/>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6.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実施場所</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773707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7.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の実施体制</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49468267"/>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8.</a:t>
                      </a:r>
                      <a:r>
                        <a:rPr kumimoji="0" lang="ja-JP" altLang="en-US" sz="1200" b="0" i="0" u="none" strike="noStrike" cap="none" normalizeH="0" baseline="0">
                          <a:ln>
                            <a:noFill/>
                          </a:ln>
                          <a:solidFill>
                            <a:schemeClr val="tx1"/>
                          </a:solidFill>
                          <a:effectLst/>
                          <a:latin typeface="+mn-lt"/>
                          <a:ea typeface="+mn-ea"/>
                          <a:cs typeface="+mn-cs"/>
                          <a:sym typeface="+mn-lt"/>
                        </a:rPr>
                        <a:t> 分科会プロジェクトの活動スケジュール</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176213"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en-US" altLang="ja-JP" sz="1200" b="0" i="0" u="none" strike="noStrike" kern="1200" cap="none" spc="0" normalizeH="0" baseline="0" noProof="0">
                          <a:ln>
                            <a:noFill/>
                          </a:ln>
                          <a:solidFill>
                            <a:prstClr val="black"/>
                          </a:solidFill>
                          <a:effectLst/>
                          <a:uLnTx/>
                          <a:uFillTx/>
                          <a:latin typeface="Open Sans"/>
                          <a:ea typeface="Yu Gothic UI"/>
                          <a:cs typeface="+mn-cs"/>
                          <a:sym typeface="+mn-lt"/>
                        </a:rPr>
                        <a:t>PX</a:t>
                      </a:r>
                      <a:endParaRPr kumimoji="0" lang="en-US" altLang="ja-JP" sz="1200" b="0"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9" name="タイトル 8"/>
          <p:cNvSpPr>
            <a:spLocks noGrp="1"/>
          </p:cNvSpPr>
          <p:nvPr>
            <p:ph type="title"/>
          </p:nvPr>
        </p:nvSpPr>
        <p:spPr bwMode="gray"/>
        <p:txBody>
          <a:bodyPr vert="horz"/>
          <a:lstStyle/>
          <a:p>
            <a:r>
              <a:rPr lang="ja-JP" altLang="en-US">
                <a:sym typeface="+mj-lt"/>
              </a:rPr>
              <a:t>目次</a:t>
            </a:r>
          </a:p>
        </p:txBody>
      </p:sp>
      <p:graphicFrame>
        <p:nvGraphicFramePr>
          <p:cNvPr id="10" name="Group 155">
            <a:extLst>
              <a:ext uri="{FF2B5EF4-FFF2-40B4-BE49-F238E27FC236}">
                <a16:creationId xmlns:a16="http://schemas.microsoft.com/office/drawing/2014/main" id="{30A92DEB-8E33-481E-B197-8B22ECA3BA0D}"/>
              </a:ext>
            </a:extLst>
          </p:cNvPr>
          <p:cNvGraphicFramePr>
            <a:graphicFrameLocks/>
          </p:cNvGraphicFramePr>
          <p:nvPr>
            <p:extLst>
              <p:ext uri="{D42A27DB-BD31-4B8C-83A1-F6EECF244321}">
                <p14:modId xmlns:p14="http://schemas.microsoft.com/office/powerpoint/2010/main" val="2668300476"/>
              </p:ext>
            </p:extLst>
          </p:nvPr>
        </p:nvGraphicFramePr>
        <p:xfrm>
          <a:off x="5132388" y="1476375"/>
          <a:ext cx="4356000" cy="1757220"/>
        </p:xfrm>
        <a:graphic>
          <a:graphicData uri="http://schemas.openxmlformats.org/drawingml/2006/table">
            <a:tbl>
              <a:tblPr/>
              <a:tblGrid>
                <a:gridCol w="4356000">
                  <a:extLst>
                    <a:ext uri="{9D8B030D-6E8A-4147-A177-3AD203B41FA5}">
                      <a16:colId xmlns:a16="http://schemas.microsoft.com/office/drawing/2014/main" val="20000"/>
                    </a:ext>
                  </a:extLst>
                </a:gridCol>
              </a:tblGrid>
              <a:tr h="439305">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ja-JP" altLang="en-US" sz="1200" b="1" i="0" u="none" strike="noStrike" cap="none" normalizeH="0" baseline="0">
                          <a:ln>
                            <a:noFill/>
                          </a:ln>
                          <a:solidFill>
                            <a:schemeClr val="tx1"/>
                          </a:solidFill>
                          <a:effectLst/>
                          <a:latin typeface="+mn-lt"/>
                          <a:ea typeface="+mn-ea"/>
                          <a:cs typeface="+mn-cs"/>
                          <a:sym typeface="+mn-lt"/>
                        </a:rPr>
                        <a:t>その他要記載事項</a:t>
                      </a:r>
                      <a:endParaRPr kumimoji="0" lang="en-US" altLang="ja-JP" sz="1200" b="1" i="0" u="none" strike="noStrike" cap="none" normalizeH="0" baseline="0">
                        <a:ln>
                          <a:noFill/>
                        </a:ln>
                        <a:solidFill>
                          <a:schemeClr val="tx1"/>
                        </a:solidFill>
                        <a:effectLst/>
                        <a:latin typeface="+mn-lt"/>
                        <a:ea typeface="+mn-ea"/>
                        <a:cs typeface="+mn-cs"/>
                        <a:sym typeface="+mn-lt"/>
                      </a:endParaRPr>
                    </a:p>
                  </a:txBody>
                  <a:tcPr marL="72000" marR="72000" marT="72000" marB="72000" anchor="ctr" horzOverflow="overflow">
                    <a:lnL cap="flat">
                      <a:noFill/>
                    </a:lnL>
                    <a:lnR cap="flat">
                      <a:noFill/>
                    </a:lnR>
                    <a:lnT w="12700" cap="flat" cmpd="sng" algn="ctr">
                      <a:no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445771796"/>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1. </a:t>
                      </a: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企画提案者の情報</a:t>
                      </a:r>
                      <a:r>
                        <a:rPr kumimoji="0" lang="en-US" altLang="ja-JP" sz="1200" b="0" i="0" u="none" strike="noStrike" cap="none" normalizeH="0" baseline="0">
                          <a:ln>
                            <a:noFill/>
                          </a:ln>
                          <a:solidFill>
                            <a:schemeClr val="tx1"/>
                          </a:solidFill>
                          <a:effectLst/>
                          <a:latin typeface="+mn-lt"/>
                          <a:ea typeface="+mn-ea"/>
                          <a:cs typeface="+mn-cs"/>
                          <a:sym typeface="+mn-lt"/>
                        </a:rPr>
                        <a:t>	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966912371"/>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2. </a:t>
                      </a:r>
                      <a:r>
                        <a:rPr kumimoji="0" lang="ja-JP" altLang="en-US" sz="1200" b="0" i="0" u="none" strike="noStrike" cap="none" normalizeH="0" baseline="0">
                          <a:ln>
                            <a:noFill/>
                          </a:ln>
                          <a:solidFill>
                            <a:schemeClr val="tx1"/>
                          </a:solidFill>
                          <a:effectLst/>
                          <a:latin typeface="+mn-lt"/>
                          <a:ea typeface="+mn-ea"/>
                          <a:cs typeface="+mn-cs"/>
                          <a:sym typeface="+mn-lt"/>
                        </a:rPr>
                        <a:t>分科会プロジェクト費用見込み</a:t>
                      </a:r>
                      <a:r>
                        <a:rPr kumimoji="0" lang="en-US" altLang="ja-JP" sz="1200" b="0" i="0" u="none" strike="noStrike" cap="none" normalizeH="0" baseline="0">
                          <a:ln>
                            <a:noFill/>
                          </a:ln>
                          <a:solidFill>
                            <a:schemeClr val="tx1"/>
                          </a:solidFill>
                          <a:effectLst/>
                          <a:latin typeface="+mn-lt"/>
                          <a:ea typeface="+mn-ea"/>
                          <a:cs typeface="+mn-cs"/>
                          <a:sym typeface="+mn-lt"/>
                        </a:rPr>
                        <a:t>	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785699635"/>
                  </a:ext>
                </a:extLst>
              </a:tr>
              <a:tr h="439305">
                <a:tc>
                  <a:txBody>
                    <a:bodyPr/>
                    <a:lstStyle/>
                    <a:p>
                      <a:pPr marL="176213"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0" lang="en-US" altLang="ja-JP" sz="1200" b="0" i="0" u="none" strike="noStrike" cap="none" normalizeH="0" baseline="0">
                          <a:ln>
                            <a:noFill/>
                          </a:ln>
                          <a:solidFill>
                            <a:schemeClr val="tx1"/>
                          </a:solidFill>
                          <a:effectLst/>
                          <a:latin typeface="+mn-lt"/>
                          <a:ea typeface="+mn-ea"/>
                          <a:cs typeface="+mn-cs"/>
                          <a:sym typeface="+mn-lt"/>
                        </a:rPr>
                        <a:t>3. </a:t>
                      </a:r>
                      <a:r>
                        <a:rPr lang="ja-JP" altLang="en-US" sz="1200">
                          <a:latin typeface="Yu Gothic UI" panose="020B0500000000000000" pitchFamily="50" charset="-128"/>
                          <a:ea typeface="Yu Gothic UI" panose="020B0500000000000000" pitchFamily="50" charset="-128"/>
                          <a:sym typeface="Yu Gothic UI" panose="020B0500000000000000" pitchFamily="50" charset="-128"/>
                        </a:rPr>
                        <a:t>応募要件の遵守表明</a:t>
                      </a:r>
                      <a:r>
                        <a:rPr kumimoji="0" lang="en-US" altLang="ja-JP" sz="1200" b="0" i="0" u="none" strike="noStrike" cap="none" normalizeH="0" baseline="0">
                          <a:ln>
                            <a:noFill/>
                          </a:ln>
                          <a:solidFill>
                            <a:schemeClr val="tx1"/>
                          </a:solidFill>
                          <a:effectLst/>
                          <a:latin typeface="+mn-lt"/>
                          <a:ea typeface="+mn-ea"/>
                          <a:cs typeface="+mn-cs"/>
                          <a:sym typeface="+mn-lt"/>
                        </a:rPr>
                        <a:t>	PX</a:t>
                      </a:r>
                    </a:p>
                  </a:txBody>
                  <a:tcPr marL="72000" marR="72000" marT="72000" marB="72000" anchor="ctr"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0992670"/>
                  </a:ext>
                </a:extLst>
              </a:tr>
            </a:tbl>
          </a:graphicData>
        </a:graphic>
      </p:graphicFrame>
    </p:spTree>
    <p:extLst>
      <p:ext uri="{BB962C8B-B14F-4D97-AF65-F5344CB8AC3E}">
        <p14:creationId xmlns:p14="http://schemas.microsoft.com/office/powerpoint/2010/main" val="1626209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オブジェクト 44" hidden="1">
            <a:extLst>
              <a:ext uri="{FF2B5EF4-FFF2-40B4-BE49-F238E27FC236}">
                <a16:creationId xmlns:a16="http://schemas.microsoft.com/office/drawing/2014/main" id="{3654A7A2-0705-4052-A5A6-2A4BA3C6E54E}"/>
              </a:ext>
            </a:extLst>
          </p:cNvPr>
          <p:cNvGraphicFramePr>
            <a:graphicFrameLocks noChangeAspect="1"/>
          </p:cNvGraphicFramePr>
          <p:nvPr>
            <p:custDataLst>
              <p:tags r:id="rId1"/>
            </p:custDataLst>
            <p:extLst>
              <p:ext uri="{D42A27DB-BD31-4B8C-83A1-F6EECF244321}">
                <p14:modId xmlns:p14="http://schemas.microsoft.com/office/powerpoint/2010/main" val="1656370773"/>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45" name="オブジェクト 44" hidden="1">
                        <a:extLst>
                          <a:ext uri="{FF2B5EF4-FFF2-40B4-BE49-F238E27FC236}">
                            <a16:creationId xmlns:a16="http://schemas.microsoft.com/office/drawing/2014/main" id="{3654A7A2-0705-4052-A5A6-2A4BA3C6E54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F8F7D730-902B-4CAB-AA24-EC6E278B1BBA}"/>
              </a:ext>
            </a:extLst>
          </p:cNvPr>
          <p:cNvSpPr>
            <a:spLocks noGrp="1"/>
          </p:cNvSpPr>
          <p:nvPr>
            <p:ph type="body" sz="quarter" idx="16"/>
          </p:nvPr>
        </p:nvSpPr>
        <p:spPr/>
        <p:txBody>
          <a:bodyPr/>
          <a:lstStyle/>
          <a:p>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1. </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企画提案者の情報（</a:t>
            </a:r>
            <a:r>
              <a:rPr lang="en-US" altLang="ja-JP">
                <a:latin typeface="Yu Gothic UI" panose="020B0500000000000000" pitchFamily="50" charset="-128"/>
                <a:ea typeface="Yu Gothic UI" panose="020B0500000000000000" pitchFamily="50" charset="-128"/>
                <a:sym typeface="Yu Gothic UI" panose="020B0500000000000000" pitchFamily="50" charset="-128"/>
              </a:rPr>
              <a:t>2</a:t>
            </a:r>
            <a:r>
              <a:rPr kumimoji="1" lang="en-US" altLang="ja-JP">
                <a:latin typeface="Yu Gothic UI" panose="020B0500000000000000" pitchFamily="50" charset="-128"/>
                <a:ea typeface="Yu Gothic UI" panose="020B0500000000000000" pitchFamily="50" charset="-128"/>
                <a:sym typeface="Yu Gothic UI" panose="020B0500000000000000" pitchFamily="50" charset="-128"/>
              </a:rPr>
              <a:t>/X</a:t>
            </a:r>
            <a:r>
              <a:rPr kumimoji="1" lang="ja-JP" altLang="en-US">
                <a:latin typeface="Yu Gothic UI" panose="020B0500000000000000" pitchFamily="50" charset="-128"/>
                <a:ea typeface="Yu Gothic UI" panose="020B0500000000000000" pitchFamily="50" charset="-128"/>
                <a:sym typeface="Yu Gothic UI" panose="020B0500000000000000" pitchFamily="50" charset="-128"/>
              </a:rPr>
              <a:t>）</a:t>
            </a:r>
          </a:p>
        </p:txBody>
      </p:sp>
      <p:sp>
        <p:nvSpPr>
          <p:cNvPr id="3" name="テキスト プレースホルダー 2">
            <a:extLst>
              <a:ext uri="{FF2B5EF4-FFF2-40B4-BE49-F238E27FC236}">
                <a16:creationId xmlns:a16="http://schemas.microsoft.com/office/drawing/2014/main" id="{C3E5671C-5399-441D-821D-64C8EA161B52}"/>
              </a:ext>
            </a:extLst>
          </p:cNvPr>
          <p:cNvSpPr>
            <a:spLocks noGrp="1"/>
          </p:cNvSpPr>
          <p:nvPr>
            <p:ph type="body" sz="quarter" idx="17"/>
          </p:nvPr>
        </p:nvSpPr>
        <p:spPr/>
        <p:txBody>
          <a:bodyPr>
            <a:normAutofit/>
          </a:bodyPr>
          <a:lstStyle/>
          <a:p>
            <a:pPr marL="263776" indent="-263776">
              <a:buFont typeface="Wingdings" panose="05000000000000000000" pitchFamily="2" charset="2"/>
              <a:buChar char="l"/>
            </a:pPr>
            <a:r>
              <a:rPr lang="ja-JP" altLang="en-US" sz="1200"/>
              <a:t>代表団体及び参加団体の情報を記載してください</a:t>
            </a:r>
            <a:endParaRPr lang="en-US" altLang="ja-JP" sz="1200"/>
          </a:p>
          <a:p>
            <a:pPr marL="263776" indent="-263776">
              <a:buFont typeface="Wingdings" panose="05000000000000000000" pitchFamily="2" charset="2"/>
              <a:buChar char="l"/>
            </a:pPr>
            <a:r>
              <a:rPr lang="ja-JP" altLang="en-US" sz="1200"/>
              <a:t>必要に応じてスライドを複製ください</a:t>
            </a:r>
          </a:p>
        </p:txBody>
      </p:sp>
      <p:sp>
        <p:nvSpPr>
          <p:cNvPr id="4" name="スライド番号プレースホルダー 3">
            <a:extLst>
              <a:ext uri="{FF2B5EF4-FFF2-40B4-BE49-F238E27FC236}">
                <a16:creationId xmlns:a16="http://schemas.microsoft.com/office/drawing/2014/main" id="{56679CD3-9CBE-4663-BF09-1076DD05D31A}"/>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19</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テキスト ボックス 4">
            <a:extLst>
              <a:ext uri="{FF2B5EF4-FFF2-40B4-BE49-F238E27FC236}">
                <a16:creationId xmlns:a16="http://schemas.microsoft.com/office/drawing/2014/main" id="{3CE6A48A-27AE-4BA3-974B-2A49075EA097}"/>
              </a:ext>
            </a:extLst>
          </p:cNvPr>
          <p:cNvSpPr txBox="1"/>
          <p:nvPr/>
        </p:nvSpPr>
        <p:spPr bwMode="gray">
          <a:xfrm>
            <a:off x="764932" y="1625112"/>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参加団体情報</a:t>
            </a:r>
          </a:p>
        </p:txBody>
      </p:sp>
      <p:sp>
        <p:nvSpPr>
          <p:cNvPr id="6" name="正方形/長方形 5">
            <a:extLst>
              <a:ext uri="{FF2B5EF4-FFF2-40B4-BE49-F238E27FC236}">
                <a16:creationId xmlns:a16="http://schemas.microsoft.com/office/drawing/2014/main" id="{19063C38-93FA-4886-A94D-33F7B5C634E9}"/>
              </a:ext>
            </a:extLst>
          </p:cNvPr>
          <p:cNvSpPr/>
          <p:nvPr/>
        </p:nvSpPr>
        <p:spPr bwMode="gray">
          <a:xfrm>
            <a:off x="764932"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7" name="正方形/長方形 6">
            <a:extLst>
              <a:ext uri="{FF2B5EF4-FFF2-40B4-BE49-F238E27FC236}">
                <a16:creationId xmlns:a16="http://schemas.microsoft.com/office/drawing/2014/main" id="{EB273663-88C0-4735-9095-34ACA8416789}"/>
              </a:ext>
            </a:extLst>
          </p:cNvPr>
          <p:cNvSpPr/>
          <p:nvPr/>
        </p:nvSpPr>
        <p:spPr bwMode="gray">
          <a:xfrm>
            <a:off x="764932"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8" name="正方形/長方形 7">
            <a:extLst>
              <a:ext uri="{FF2B5EF4-FFF2-40B4-BE49-F238E27FC236}">
                <a16:creationId xmlns:a16="http://schemas.microsoft.com/office/drawing/2014/main" id="{5D8B0771-0BAD-423A-BC18-7AB2EE8727BD}"/>
              </a:ext>
            </a:extLst>
          </p:cNvPr>
          <p:cNvSpPr/>
          <p:nvPr/>
        </p:nvSpPr>
        <p:spPr bwMode="gray">
          <a:xfrm>
            <a:off x="1727311"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9" name="正方形/長方形 8">
            <a:extLst>
              <a:ext uri="{FF2B5EF4-FFF2-40B4-BE49-F238E27FC236}">
                <a16:creationId xmlns:a16="http://schemas.microsoft.com/office/drawing/2014/main" id="{847E7FC3-0B18-4017-BD59-E968875BFB2C}"/>
              </a:ext>
            </a:extLst>
          </p:cNvPr>
          <p:cNvSpPr/>
          <p:nvPr/>
        </p:nvSpPr>
        <p:spPr bwMode="gray">
          <a:xfrm>
            <a:off x="764932"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10" name="正方形/長方形 9">
            <a:extLst>
              <a:ext uri="{FF2B5EF4-FFF2-40B4-BE49-F238E27FC236}">
                <a16:creationId xmlns:a16="http://schemas.microsoft.com/office/drawing/2014/main" id="{1D3DF516-DC93-4163-8EA9-255B8A7D55A5}"/>
              </a:ext>
            </a:extLst>
          </p:cNvPr>
          <p:cNvSpPr/>
          <p:nvPr/>
        </p:nvSpPr>
        <p:spPr bwMode="gray">
          <a:xfrm>
            <a:off x="1727311"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1" name="正方形/長方形 10">
            <a:extLst>
              <a:ext uri="{FF2B5EF4-FFF2-40B4-BE49-F238E27FC236}">
                <a16:creationId xmlns:a16="http://schemas.microsoft.com/office/drawing/2014/main" id="{3D38BD16-797F-4C6B-84EB-AA470B35BC5F}"/>
              </a:ext>
            </a:extLst>
          </p:cNvPr>
          <p:cNvSpPr/>
          <p:nvPr/>
        </p:nvSpPr>
        <p:spPr bwMode="gray">
          <a:xfrm>
            <a:off x="764932"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2" name="正方形/長方形 11">
            <a:extLst>
              <a:ext uri="{FF2B5EF4-FFF2-40B4-BE49-F238E27FC236}">
                <a16:creationId xmlns:a16="http://schemas.microsoft.com/office/drawing/2014/main" id="{0BD982F0-9EA5-4CAC-AEEB-ED9878649152}"/>
              </a:ext>
            </a:extLst>
          </p:cNvPr>
          <p:cNvSpPr/>
          <p:nvPr/>
        </p:nvSpPr>
        <p:spPr bwMode="gray">
          <a:xfrm>
            <a:off x="1727311"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3" name="正方形/長方形 12">
            <a:extLst>
              <a:ext uri="{FF2B5EF4-FFF2-40B4-BE49-F238E27FC236}">
                <a16:creationId xmlns:a16="http://schemas.microsoft.com/office/drawing/2014/main" id="{1DB9F137-2D6B-4490-BAD9-48540CFA6DB1}"/>
              </a:ext>
            </a:extLst>
          </p:cNvPr>
          <p:cNvSpPr/>
          <p:nvPr/>
        </p:nvSpPr>
        <p:spPr bwMode="gray">
          <a:xfrm>
            <a:off x="764932"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14" name="正方形/長方形 13">
            <a:extLst>
              <a:ext uri="{FF2B5EF4-FFF2-40B4-BE49-F238E27FC236}">
                <a16:creationId xmlns:a16="http://schemas.microsoft.com/office/drawing/2014/main" id="{244FB92E-3DEC-4E11-A3AF-406BF78180E9}"/>
              </a:ext>
            </a:extLst>
          </p:cNvPr>
          <p:cNvSpPr/>
          <p:nvPr/>
        </p:nvSpPr>
        <p:spPr bwMode="gray">
          <a:xfrm>
            <a:off x="1727311"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15" name="正方形/長方形 14">
            <a:extLst>
              <a:ext uri="{FF2B5EF4-FFF2-40B4-BE49-F238E27FC236}">
                <a16:creationId xmlns:a16="http://schemas.microsoft.com/office/drawing/2014/main" id="{64E1D5E8-C49F-47F3-BE2C-6B44970B9E59}"/>
              </a:ext>
            </a:extLst>
          </p:cNvPr>
          <p:cNvSpPr/>
          <p:nvPr/>
        </p:nvSpPr>
        <p:spPr bwMode="gray">
          <a:xfrm>
            <a:off x="1025682"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16" name="正方形/長方形 15">
            <a:extLst>
              <a:ext uri="{FF2B5EF4-FFF2-40B4-BE49-F238E27FC236}">
                <a16:creationId xmlns:a16="http://schemas.microsoft.com/office/drawing/2014/main" id="{E7853100-AC02-40A2-BDBE-D3CA2D9175D5}"/>
              </a:ext>
            </a:extLst>
          </p:cNvPr>
          <p:cNvSpPr/>
          <p:nvPr/>
        </p:nvSpPr>
        <p:spPr bwMode="gray">
          <a:xfrm>
            <a:off x="1025682"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17" name="正方形/長方形 16">
            <a:extLst>
              <a:ext uri="{FF2B5EF4-FFF2-40B4-BE49-F238E27FC236}">
                <a16:creationId xmlns:a16="http://schemas.microsoft.com/office/drawing/2014/main" id="{87F276A2-7B09-4894-81EC-FDDF7791110B}"/>
              </a:ext>
            </a:extLst>
          </p:cNvPr>
          <p:cNvSpPr/>
          <p:nvPr/>
        </p:nvSpPr>
        <p:spPr bwMode="gray">
          <a:xfrm>
            <a:off x="1025682"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18" name="正方形/長方形 17">
            <a:extLst>
              <a:ext uri="{FF2B5EF4-FFF2-40B4-BE49-F238E27FC236}">
                <a16:creationId xmlns:a16="http://schemas.microsoft.com/office/drawing/2014/main" id="{232404BD-8DA0-4D79-97D4-27117FC081CE}"/>
              </a:ext>
            </a:extLst>
          </p:cNvPr>
          <p:cNvSpPr/>
          <p:nvPr/>
        </p:nvSpPr>
        <p:spPr bwMode="gray">
          <a:xfrm>
            <a:off x="1025682"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19" name="正方形/長方形 18">
            <a:extLst>
              <a:ext uri="{FF2B5EF4-FFF2-40B4-BE49-F238E27FC236}">
                <a16:creationId xmlns:a16="http://schemas.microsoft.com/office/drawing/2014/main" id="{D7336D6F-774C-46A9-B36A-0CB62FBCAAE3}"/>
              </a:ext>
            </a:extLst>
          </p:cNvPr>
          <p:cNvSpPr/>
          <p:nvPr/>
        </p:nvSpPr>
        <p:spPr bwMode="gray">
          <a:xfrm>
            <a:off x="1025682"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20" name="正方形/長方形 19">
            <a:extLst>
              <a:ext uri="{FF2B5EF4-FFF2-40B4-BE49-F238E27FC236}">
                <a16:creationId xmlns:a16="http://schemas.microsoft.com/office/drawing/2014/main" id="{3E390C75-284A-4362-B920-958960B373B3}"/>
              </a:ext>
            </a:extLst>
          </p:cNvPr>
          <p:cNvSpPr/>
          <p:nvPr/>
        </p:nvSpPr>
        <p:spPr bwMode="gray">
          <a:xfrm>
            <a:off x="1727311"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1" name="正方形/長方形 20">
            <a:extLst>
              <a:ext uri="{FF2B5EF4-FFF2-40B4-BE49-F238E27FC236}">
                <a16:creationId xmlns:a16="http://schemas.microsoft.com/office/drawing/2014/main" id="{00ED51DC-3652-4CC2-A828-3B22A2A78A2D}"/>
              </a:ext>
            </a:extLst>
          </p:cNvPr>
          <p:cNvSpPr/>
          <p:nvPr/>
        </p:nvSpPr>
        <p:spPr bwMode="gray">
          <a:xfrm>
            <a:off x="1727311"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2" name="正方形/長方形 21">
            <a:extLst>
              <a:ext uri="{FF2B5EF4-FFF2-40B4-BE49-F238E27FC236}">
                <a16:creationId xmlns:a16="http://schemas.microsoft.com/office/drawing/2014/main" id="{0600C718-0FE7-432C-AEF7-BA0B94524076}"/>
              </a:ext>
            </a:extLst>
          </p:cNvPr>
          <p:cNvSpPr/>
          <p:nvPr/>
        </p:nvSpPr>
        <p:spPr bwMode="gray">
          <a:xfrm>
            <a:off x="1727311"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3" name="正方形/長方形 22">
            <a:extLst>
              <a:ext uri="{FF2B5EF4-FFF2-40B4-BE49-F238E27FC236}">
                <a16:creationId xmlns:a16="http://schemas.microsoft.com/office/drawing/2014/main" id="{07B8275A-85EA-41D3-BF0F-614AA0B1870B}"/>
              </a:ext>
            </a:extLst>
          </p:cNvPr>
          <p:cNvSpPr/>
          <p:nvPr/>
        </p:nvSpPr>
        <p:spPr bwMode="gray">
          <a:xfrm>
            <a:off x="1727311"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4" name="正方形/長方形 23">
            <a:extLst>
              <a:ext uri="{FF2B5EF4-FFF2-40B4-BE49-F238E27FC236}">
                <a16:creationId xmlns:a16="http://schemas.microsoft.com/office/drawing/2014/main" id="{7D304506-E515-421D-9FDE-DAA25C3A7CA0}"/>
              </a:ext>
            </a:extLst>
          </p:cNvPr>
          <p:cNvSpPr/>
          <p:nvPr/>
        </p:nvSpPr>
        <p:spPr bwMode="gray">
          <a:xfrm>
            <a:off x="1727311"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5" name="テキスト ボックス 24">
            <a:extLst>
              <a:ext uri="{FF2B5EF4-FFF2-40B4-BE49-F238E27FC236}">
                <a16:creationId xmlns:a16="http://schemas.microsoft.com/office/drawing/2014/main" id="{5B4A73FF-DA47-4734-928A-FCE543B7D31E}"/>
              </a:ext>
            </a:extLst>
          </p:cNvPr>
          <p:cNvSpPr txBox="1"/>
          <p:nvPr/>
        </p:nvSpPr>
        <p:spPr bwMode="gray">
          <a:xfrm>
            <a:off x="5116604" y="1625112"/>
            <a:ext cx="4022481" cy="184666"/>
          </a:xfrm>
          <a:prstGeom prst="rect">
            <a:avLst/>
          </a:prstGeom>
          <a:noFill/>
        </p:spPr>
        <p:txBody>
          <a:bodyPr wrap="square" lIns="0" tIns="0" rIns="0" bIns="0" rtlCol="0">
            <a:spAutoFit/>
          </a:bodyPr>
          <a:lstStyle/>
          <a:p>
            <a:pPr defTabSz="914390">
              <a:buSzPct val="100000"/>
            </a:pPr>
            <a:r>
              <a:rPr kumimoji="1" lang="ja-JP" altLang="en-US" sz="1200"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参加団体情報</a:t>
            </a:r>
          </a:p>
        </p:txBody>
      </p:sp>
      <p:sp>
        <p:nvSpPr>
          <p:cNvPr id="26" name="正方形/長方形 25">
            <a:extLst>
              <a:ext uri="{FF2B5EF4-FFF2-40B4-BE49-F238E27FC236}">
                <a16:creationId xmlns:a16="http://schemas.microsoft.com/office/drawing/2014/main" id="{6CE38E24-4FBA-49FC-8D9E-E589F35C72CD}"/>
              </a:ext>
            </a:extLst>
          </p:cNvPr>
          <p:cNvSpPr/>
          <p:nvPr/>
        </p:nvSpPr>
        <p:spPr bwMode="gray">
          <a:xfrm>
            <a:off x="5116603" y="1853686"/>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団体名</a:t>
            </a:r>
          </a:p>
        </p:txBody>
      </p:sp>
      <p:sp>
        <p:nvSpPr>
          <p:cNvPr id="27" name="正方形/長方形 26">
            <a:extLst>
              <a:ext uri="{FF2B5EF4-FFF2-40B4-BE49-F238E27FC236}">
                <a16:creationId xmlns:a16="http://schemas.microsoft.com/office/drawing/2014/main" id="{1B0B9E28-DD6E-4CE1-906D-287452A43E86}"/>
              </a:ext>
            </a:extLst>
          </p:cNvPr>
          <p:cNvSpPr/>
          <p:nvPr/>
        </p:nvSpPr>
        <p:spPr bwMode="gray">
          <a:xfrm>
            <a:off x="5116604" y="3558788"/>
            <a:ext cx="217170" cy="2082064"/>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連絡担当窓口</a:t>
            </a:r>
          </a:p>
        </p:txBody>
      </p:sp>
      <p:sp>
        <p:nvSpPr>
          <p:cNvPr id="28" name="正方形/長方形 27">
            <a:extLst>
              <a:ext uri="{FF2B5EF4-FFF2-40B4-BE49-F238E27FC236}">
                <a16:creationId xmlns:a16="http://schemas.microsoft.com/office/drawing/2014/main" id="{1C135D67-9850-49BA-B196-1C0400100752}"/>
              </a:ext>
            </a:extLst>
          </p:cNvPr>
          <p:cNvSpPr/>
          <p:nvPr/>
        </p:nvSpPr>
        <p:spPr bwMode="gray">
          <a:xfrm>
            <a:off x="6078982" y="1853686"/>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9" name="正方形/長方形 28">
            <a:extLst>
              <a:ext uri="{FF2B5EF4-FFF2-40B4-BE49-F238E27FC236}">
                <a16:creationId xmlns:a16="http://schemas.microsoft.com/office/drawing/2014/main" id="{95E31AA0-7AB7-4410-A4CE-6F20D2CB376F}"/>
              </a:ext>
            </a:extLst>
          </p:cNvPr>
          <p:cNvSpPr/>
          <p:nvPr/>
        </p:nvSpPr>
        <p:spPr bwMode="gray">
          <a:xfrm>
            <a:off x="5116603" y="2279285"/>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代表者名</a:t>
            </a:r>
          </a:p>
        </p:txBody>
      </p:sp>
      <p:sp>
        <p:nvSpPr>
          <p:cNvPr id="30" name="正方形/長方形 29">
            <a:extLst>
              <a:ext uri="{FF2B5EF4-FFF2-40B4-BE49-F238E27FC236}">
                <a16:creationId xmlns:a16="http://schemas.microsoft.com/office/drawing/2014/main" id="{8260397E-2ED0-458A-A79B-623C760B7846}"/>
              </a:ext>
            </a:extLst>
          </p:cNvPr>
          <p:cNvSpPr/>
          <p:nvPr/>
        </p:nvSpPr>
        <p:spPr bwMode="gray">
          <a:xfrm>
            <a:off x="6078982" y="227996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1" name="正方形/長方形 30">
            <a:extLst>
              <a:ext uri="{FF2B5EF4-FFF2-40B4-BE49-F238E27FC236}">
                <a16:creationId xmlns:a16="http://schemas.microsoft.com/office/drawing/2014/main" id="{6CC6FD30-AF03-4DA6-BEBF-5BE5D9F586BD}"/>
              </a:ext>
            </a:extLst>
          </p:cNvPr>
          <p:cNvSpPr/>
          <p:nvPr/>
        </p:nvSpPr>
        <p:spPr bwMode="gray">
          <a:xfrm>
            <a:off x="5116603" y="27048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URL</a:t>
            </a:r>
            <a:endPar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2" name="正方形/長方形 31">
            <a:extLst>
              <a:ext uri="{FF2B5EF4-FFF2-40B4-BE49-F238E27FC236}">
                <a16:creationId xmlns:a16="http://schemas.microsoft.com/office/drawing/2014/main" id="{BCAF503F-5824-4EE1-8054-8D434E6E95F4}"/>
              </a:ext>
            </a:extLst>
          </p:cNvPr>
          <p:cNvSpPr/>
          <p:nvPr/>
        </p:nvSpPr>
        <p:spPr bwMode="gray">
          <a:xfrm>
            <a:off x="6078982" y="27048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3" name="正方形/長方形 32">
            <a:extLst>
              <a:ext uri="{FF2B5EF4-FFF2-40B4-BE49-F238E27FC236}">
                <a16:creationId xmlns:a16="http://schemas.microsoft.com/office/drawing/2014/main" id="{25E5D0E9-0478-43EA-9C5A-8623BDBB3054}"/>
              </a:ext>
            </a:extLst>
          </p:cNvPr>
          <p:cNvSpPr/>
          <p:nvPr/>
        </p:nvSpPr>
        <p:spPr bwMode="gray">
          <a:xfrm>
            <a:off x="5116603" y="3130484"/>
            <a:ext cx="962378"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在地</a:t>
            </a:r>
          </a:p>
        </p:txBody>
      </p:sp>
      <p:sp>
        <p:nvSpPr>
          <p:cNvPr id="34" name="正方形/長方形 33">
            <a:extLst>
              <a:ext uri="{FF2B5EF4-FFF2-40B4-BE49-F238E27FC236}">
                <a16:creationId xmlns:a16="http://schemas.microsoft.com/office/drawing/2014/main" id="{C66CF105-8EBC-4FF2-A2C6-B7F87E4894C4}"/>
              </a:ext>
            </a:extLst>
          </p:cNvPr>
          <p:cNvSpPr/>
          <p:nvPr/>
        </p:nvSpPr>
        <p:spPr bwMode="gray">
          <a:xfrm>
            <a:off x="6078982" y="3130484"/>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a:t>
            </a:r>
          </a:p>
          <a:p>
            <a:pPr defTabSz="914390">
              <a:buSzPct val="100000"/>
            </a:pPr>
            <a:endParaRPr kumimoji="1" lang="ja-JP" altLang="en-US" sz="1200"/>
          </a:p>
        </p:txBody>
      </p:sp>
      <p:sp>
        <p:nvSpPr>
          <p:cNvPr id="35" name="正方形/長方形 34">
            <a:extLst>
              <a:ext uri="{FF2B5EF4-FFF2-40B4-BE49-F238E27FC236}">
                <a16:creationId xmlns:a16="http://schemas.microsoft.com/office/drawing/2014/main" id="{E11C7755-4A27-4CD7-8CC8-93FB7C3C6333}"/>
              </a:ext>
            </a:extLst>
          </p:cNvPr>
          <p:cNvSpPr/>
          <p:nvPr/>
        </p:nvSpPr>
        <p:spPr bwMode="gray">
          <a:xfrm>
            <a:off x="5377353" y="3556083"/>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担当者名</a:t>
            </a:r>
          </a:p>
        </p:txBody>
      </p:sp>
      <p:sp>
        <p:nvSpPr>
          <p:cNvPr id="36" name="正方形/長方形 35">
            <a:extLst>
              <a:ext uri="{FF2B5EF4-FFF2-40B4-BE49-F238E27FC236}">
                <a16:creationId xmlns:a16="http://schemas.microsoft.com/office/drawing/2014/main" id="{6A79B4C9-548D-4401-8B8B-C9DC32A95D7A}"/>
              </a:ext>
            </a:extLst>
          </p:cNvPr>
          <p:cNvSpPr/>
          <p:nvPr/>
        </p:nvSpPr>
        <p:spPr bwMode="gray">
          <a:xfrm>
            <a:off x="5377353" y="39816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フリガナ</a:t>
            </a:r>
          </a:p>
        </p:txBody>
      </p:sp>
      <p:sp>
        <p:nvSpPr>
          <p:cNvPr id="37" name="正方形/長方形 36">
            <a:extLst>
              <a:ext uri="{FF2B5EF4-FFF2-40B4-BE49-F238E27FC236}">
                <a16:creationId xmlns:a16="http://schemas.microsoft.com/office/drawing/2014/main" id="{A3794EBF-E13E-467D-988B-C1E22CEDB20A}"/>
              </a:ext>
            </a:extLst>
          </p:cNvPr>
          <p:cNvSpPr/>
          <p:nvPr/>
        </p:nvSpPr>
        <p:spPr bwMode="gray">
          <a:xfrm>
            <a:off x="5377353" y="44072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所属先・</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役職</a:t>
            </a:r>
          </a:p>
        </p:txBody>
      </p:sp>
      <p:sp>
        <p:nvSpPr>
          <p:cNvPr id="38" name="正方形/長方形 37">
            <a:extLst>
              <a:ext uri="{FF2B5EF4-FFF2-40B4-BE49-F238E27FC236}">
                <a16:creationId xmlns:a16="http://schemas.microsoft.com/office/drawing/2014/main" id="{AFC7BA44-CC1F-44F3-868B-40477BBF53EE}"/>
              </a:ext>
            </a:extLst>
          </p:cNvPr>
          <p:cNvSpPr/>
          <p:nvPr/>
        </p:nvSpPr>
        <p:spPr bwMode="gray">
          <a:xfrm>
            <a:off x="5377353" y="4832880"/>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電話番号</a:t>
            </a:r>
          </a:p>
        </p:txBody>
      </p:sp>
      <p:sp>
        <p:nvSpPr>
          <p:cNvPr id="39" name="正方形/長方形 38">
            <a:extLst>
              <a:ext uri="{FF2B5EF4-FFF2-40B4-BE49-F238E27FC236}">
                <a16:creationId xmlns:a16="http://schemas.microsoft.com/office/drawing/2014/main" id="{0B3829FD-E24E-4DE7-BE62-00967C05F1A7}"/>
              </a:ext>
            </a:extLst>
          </p:cNvPr>
          <p:cNvSpPr/>
          <p:nvPr/>
        </p:nvSpPr>
        <p:spPr bwMode="gray">
          <a:xfrm>
            <a:off x="5377353" y="5258482"/>
            <a:ext cx="701629"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メール</a:t>
            </a:r>
            <a:endPar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アドレス</a:t>
            </a:r>
          </a:p>
        </p:txBody>
      </p:sp>
      <p:sp>
        <p:nvSpPr>
          <p:cNvPr id="40" name="正方形/長方形 39">
            <a:extLst>
              <a:ext uri="{FF2B5EF4-FFF2-40B4-BE49-F238E27FC236}">
                <a16:creationId xmlns:a16="http://schemas.microsoft.com/office/drawing/2014/main" id="{90DAA0AF-79AF-4BB3-98E5-29F93CE98BCE}"/>
              </a:ext>
            </a:extLst>
          </p:cNvPr>
          <p:cNvSpPr/>
          <p:nvPr/>
        </p:nvSpPr>
        <p:spPr bwMode="gray">
          <a:xfrm>
            <a:off x="6078982" y="355608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1" name="正方形/長方形 40">
            <a:extLst>
              <a:ext uri="{FF2B5EF4-FFF2-40B4-BE49-F238E27FC236}">
                <a16:creationId xmlns:a16="http://schemas.microsoft.com/office/drawing/2014/main" id="{154F2CB7-A23C-4381-8D45-A5E8C1D24BBD}"/>
              </a:ext>
            </a:extLst>
          </p:cNvPr>
          <p:cNvSpPr/>
          <p:nvPr/>
        </p:nvSpPr>
        <p:spPr bwMode="gray">
          <a:xfrm>
            <a:off x="6078982" y="39816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2" name="正方形/長方形 41">
            <a:extLst>
              <a:ext uri="{FF2B5EF4-FFF2-40B4-BE49-F238E27FC236}">
                <a16:creationId xmlns:a16="http://schemas.microsoft.com/office/drawing/2014/main" id="{07ACB726-10D2-4AA4-905C-C97DA3FA399C}"/>
              </a:ext>
            </a:extLst>
          </p:cNvPr>
          <p:cNvSpPr/>
          <p:nvPr/>
        </p:nvSpPr>
        <p:spPr bwMode="gray">
          <a:xfrm>
            <a:off x="6078982" y="4409523"/>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3" name="正方形/長方形 42">
            <a:extLst>
              <a:ext uri="{FF2B5EF4-FFF2-40B4-BE49-F238E27FC236}">
                <a16:creationId xmlns:a16="http://schemas.microsoft.com/office/drawing/2014/main" id="{FAD0DEC6-3965-450B-95EB-8CB2B42CAF4F}"/>
              </a:ext>
            </a:extLst>
          </p:cNvPr>
          <p:cNvSpPr/>
          <p:nvPr/>
        </p:nvSpPr>
        <p:spPr bwMode="gray">
          <a:xfrm>
            <a:off x="6078982" y="4832880"/>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4" name="正方形/長方形 43">
            <a:extLst>
              <a:ext uri="{FF2B5EF4-FFF2-40B4-BE49-F238E27FC236}">
                <a16:creationId xmlns:a16="http://schemas.microsoft.com/office/drawing/2014/main" id="{318F3981-7928-484C-A38F-F93802F40C9F}"/>
              </a:ext>
            </a:extLst>
          </p:cNvPr>
          <p:cNvSpPr/>
          <p:nvPr/>
        </p:nvSpPr>
        <p:spPr bwMode="gray">
          <a:xfrm>
            <a:off x="6078982" y="5258482"/>
            <a:ext cx="3060103"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t" anchorCtr="0" forceAA="0" compatLnSpc="1">
            <a:prstTxWarp prst="textNoShape">
              <a:avLst/>
            </a:prstTxWarp>
            <a:noAutofit/>
          </a:bodyPr>
          <a:lstStyle/>
          <a:p>
            <a:pPr defTabSz="914390">
              <a:buSzPct val="100000"/>
            </a:pPr>
            <a:endParaRPr kumimoji="1" lang="ja-JP" altLang="en-US" sz="1200">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31005591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extLst>
              <p:ext uri="{D42A27DB-BD31-4B8C-83A1-F6EECF244321}">
                <p14:modId xmlns:p14="http://schemas.microsoft.com/office/powerpoint/2010/main" val="2958665475"/>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t>分科会</a:t>
            </a:r>
            <a:r>
              <a:rPr lang="ja-JP" altLang="en-US">
                <a:latin typeface="Yu Gothic UI" panose="020B0500000000000000" pitchFamily="50" charset="-128"/>
                <a:ea typeface="Yu Gothic UI" panose="020B0500000000000000" pitchFamily="50" charset="-128"/>
                <a:sym typeface="Yu Gothic UI" panose="020B0500000000000000" pitchFamily="50" charset="-128"/>
              </a:rPr>
              <a:t>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lang="ja-JP" altLang="en-US" sz="1200" b="1" u="sng"/>
              <a:t>分科会プロジェクト全体</a:t>
            </a:r>
            <a:r>
              <a:rPr lang="ja-JP" altLang="en-US" sz="1200"/>
              <a:t>に係る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0</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Tree>
    <p:extLst>
      <p:ext uri="{BB962C8B-B14F-4D97-AF65-F5344CB8AC3E}">
        <p14:creationId xmlns:p14="http://schemas.microsoft.com/office/powerpoint/2010/main" val="19021984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kumimoji="1" lang="ja-JP" altLang="en-US" sz="1200"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a:t>
            </a:r>
            <a:r>
              <a:rPr lang="ja-JP" altLang="en-US" sz="1200"/>
              <a:t>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1</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
        <p:nvSpPr>
          <p:cNvPr id="53" name="正方形/長方形 52">
            <a:extLst>
              <a:ext uri="{FF2B5EF4-FFF2-40B4-BE49-F238E27FC236}">
                <a16:creationId xmlns:a16="http://schemas.microsoft.com/office/drawing/2014/main" id="{262D6AF5-7B1E-40BE-84A4-632E968827F6}"/>
              </a:ext>
            </a:extLst>
          </p:cNvPr>
          <p:cNvSpPr/>
          <p:nvPr/>
        </p:nvSpPr>
        <p:spPr bwMode="gray">
          <a:xfrm>
            <a:off x="415925" y="2399276"/>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Tree>
    <p:extLst>
      <p:ext uri="{BB962C8B-B14F-4D97-AF65-F5344CB8AC3E}">
        <p14:creationId xmlns:p14="http://schemas.microsoft.com/office/powerpoint/2010/main" val="41199662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kumimoji="1" lang="ja-JP" altLang="en-US" sz="1200"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a:t>
            </a:r>
            <a:r>
              <a:rPr lang="ja-JP" altLang="en-US" sz="1200"/>
              <a:t>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2</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
        <p:nvSpPr>
          <p:cNvPr id="53" name="正方形/長方形 52">
            <a:extLst>
              <a:ext uri="{FF2B5EF4-FFF2-40B4-BE49-F238E27FC236}">
                <a16:creationId xmlns:a16="http://schemas.microsoft.com/office/drawing/2014/main" id="{262D6AF5-7B1E-40BE-84A4-632E968827F6}"/>
              </a:ext>
            </a:extLst>
          </p:cNvPr>
          <p:cNvSpPr/>
          <p:nvPr/>
        </p:nvSpPr>
        <p:spPr bwMode="gray">
          <a:xfrm>
            <a:off x="415925" y="2399276"/>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A</a:t>
            </a:r>
          </a:p>
        </p:txBody>
      </p:sp>
    </p:spTree>
    <p:extLst>
      <p:ext uri="{BB962C8B-B14F-4D97-AF65-F5344CB8AC3E}">
        <p14:creationId xmlns:p14="http://schemas.microsoft.com/office/powerpoint/2010/main" val="5256635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D44C70B-3A69-4A5D-96DB-A7EEA229A1D7}"/>
              </a:ext>
            </a:extLst>
          </p:cNvPr>
          <p:cNvGraphicFramePr>
            <a:graphicFrameLocks noChangeAspect="1"/>
          </p:cNvGraphicFramePr>
          <p:nvPr>
            <p:custDataLst>
              <p:tags r:id="rId1"/>
            </p:custData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5" name="オブジェクト 4" hidden="1">
                        <a:extLst>
                          <a:ext uri="{FF2B5EF4-FFF2-40B4-BE49-F238E27FC236}">
                            <a16:creationId xmlns:a16="http://schemas.microsoft.com/office/drawing/2014/main" id="{0D44C70B-3A69-4A5D-96DB-A7EEA229A1D7}"/>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62456A1-A11B-4DC1-9722-1388FCF9A716}"/>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費用見込（税込）</a:t>
            </a:r>
          </a:p>
        </p:txBody>
      </p:sp>
      <p:sp>
        <p:nvSpPr>
          <p:cNvPr id="3" name="テキスト プレースホルダー 2">
            <a:extLst>
              <a:ext uri="{FF2B5EF4-FFF2-40B4-BE49-F238E27FC236}">
                <a16:creationId xmlns:a16="http://schemas.microsoft.com/office/drawing/2014/main" id="{68BE5464-CD44-45B3-B638-1E6B2208C6E5}"/>
              </a:ext>
            </a:extLst>
          </p:cNvPr>
          <p:cNvSpPr>
            <a:spLocks noGrp="1"/>
          </p:cNvSpPr>
          <p:nvPr>
            <p:ph type="body" sz="quarter" idx="17"/>
          </p:nvPr>
        </p:nvSpPr>
        <p:spPr/>
        <p:txBody>
          <a:bodyPr>
            <a:noAutofit/>
          </a:bodyPr>
          <a:lstStyle/>
          <a:p>
            <a:pPr marL="263776" indent="-263776">
              <a:buFont typeface="Wingdings" panose="05000000000000000000" pitchFamily="2" charset="2"/>
              <a:buChar char="l"/>
            </a:pPr>
            <a:r>
              <a:rPr kumimoji="1" lang="ja-JP" altLang="en-US" sz="1200"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個別の分科会プロジェクト単位</a:t>
            </a:r>
            <a:r>
              <a:rPr kumimoji="1" lang="ja-JP" altLang="en-US" sz="12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a:t>
            </a:r>
            <a:r>
              <a:rPr lang="ja-JP" altLang="en-US" sz="1200"/>
              <a:t>費用の概算総額（プロジェクト支援費を含む）を示してください</a:t>
            </a:r>
            <a:endParaRPr lang="en-US" altLang="ja-JP" sz="1200"/>
          </a:p>
          <a:p>
            <a:pPr marL="263776" indent="-263776">
              <a:buFont typeface="Wingdings" panose="05000000000000000000" pitchFamily="2" charset="2"/>
              <a:buChar char="l"/>
            </a:pPr>
            <a:r>
              <a:rPr lang="ja-JP" altLang="en-US" sz="1200"/>
              <a:t>そのうち、プロジェクト支援費で支出する費用を簡易な項目別に記載ください。</a:t>
            </a:r>
            <a:br>
              <a:rPr lang="en-US" altLang="ja-JP" sz="1200"/>
            </a:br>
            <a:r>
              <a:rPr lang="ja-JP" altLang="en-US" sz="1200"/>
              <a:t>（例：システムカスタマイズ費、システム運用費、プロダクト利用料、プロジェクトに係る人件費、通信関連費用等）</a:t>
            </a:r>
            <a:br>
              <a:rPr lang="en-US" altLang="ja-JP" sz="1200"/>
            </a:br>
            <a:r>
              <a:rPr lang="en-US" altLang="ja-JP" sz="1200"/>
              <a:t>※</a:t>
            </a:r>
            <a:r>
              <a:rPr lang="ja-JP" altLang="en-US" sz="1200"/>
              <a:t>①プロジェクト採択後に各年度毎の試算表を、②各年度末に実績報告書を、別途提出していただきます</a:t>
            </a:r>
            <a:endParaRPr lang="en-US" altLang="ja-JP" sz="1200"/>
          </a:p>
          <a:p>
            <a:pPr marL="263776" indent="-263776">
              <a:buFont typeface="Wingdings" panose="05000000000000000000" pitchFamily="2" charset="2"/>
              <a:buChar char="l"/>
            </a:pPr>
            <a:r>
              <a:rPr lang="ja-JP" altLang="en-US" sz="1200"/>
              <a:t>各年度のプロジェクト支援費目安は、総支援費の半分とする</a:t>
            </a:r>
            <a:endParaRPr lang="en-US" altLang="ja-JP" sz="1200"/>
          </a:p>
          <a:p>
            <a:pPr marL="263776" indent="-263776">
              <a:buFont typeface="Wingdings" panose="05000000000000000000" pitchFamily="2" charset="2"/>
              <a:buChar char="l"/>
            </a:pPr>
            <a:r>
              <a:rPr lang="en-US" altLang="ja-JP" sz="1200"/>
              <a:t>2024</a:t>
            </a:r>
            <a:r>
              <a:rPr lang="ja-JP" altLang="en-US" sz="1200"/>
              <a:t>年度概算内訳の見直しは</a:t>
            </a:r>
            <a:r>
              <a:rPr lang="en-US" altLang="ja-JP" sz="1200"/>
              <a:t>2024</a:t>
            </a:r>
            <a:r>
              <a:rPr lang="ja-JP" altLang="en-US" sz="1200"/>
              <a:t>年度の継続審査時に可能</a:t>
            </a:r>
            <a:endParaRPr lang="en-US" altLang="ja-JP" sz="1200"/>
          </a:p>
        </p:txBody>
      </p:sp>
      <p:sp>
        <p:nvSpPr>
          <p:cNvPr id="4" name="スライド番号プレースホルダー 3">
            <a:extLst>
              <a:ext uri="{FF2B5EF4-FFF2-40B4-BE49-F238E27FC236}">
                <a16:creationId xmlns:a16="http://schemas.microsoft.com/office/drawing/2014/main" id="{A44683D1-7B4B-4289-B71F-B81385586E1C}"/>
              </a:ext>
            </a:extLst>
          </p:cNvPr>
          <p:cNvSpPr>
            <a:spLocks noGrp="1"/>
          </p:cNvSpPr>
          <p:nvPr>
            <p:ph type="sldNum" sz="quarter" idx="4"/>
          </p:nvPr>
        </p:nvSpPr>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3</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grpSp>
        <p:nvGrpSpPr>
          <p:cNvPr id="10" name="グループ化 9">
            <a:extLst>
              <a:ext uri="{FF2B5EF4-FFF2-40B4-BE49-F238E27FC236}">
                <a16:creationId xmlns:a16="http://schemas.microsoft.com/office/drawing/2014/main" id="{8AC59594-82B3-40C2-AB60-BA1DD6B2E6F4}"/>
              </a:ext>
            </a:extLst>
          </p:cNvPr>
          <p:cNvGrpSpPr/>
          <p:nvPr/>
        </p:nvGrpSpPr>
        <p:grpSpPr>
          <a:xfrm>
            <a:off x="764932" y="2461517"/>
            <a:ext cx="8132059" cy="3334865"/>
            <a:chOff x="764932" y="2112511"/>
            <a:chExt cx="8132059" cy="3334865"/>
          </a:xfrm>
        </p:grpSpPr>
        <p:sp>
          <p:nvSpPr>
            <p:cNvPr id="6" name="正方形/長方形 5">
              <a:extLst>
                <a:ext uri="{FF2B5EF4-FFF2-40B4-BE49-F238E27FC236}">
                  <a16:creationId xmlns:a16="http://schemas.microsoft.com/office/drawing/2014/main" id="{D30C4840-97A4-4479-A488-0F193ECBDFAF}"/>
                </a:ext>
              </a:extLst>
            </p:cNvPr>
            <p:cNvSpPr/>
            <p:nvPr/>
          </p:nvSpPr>
          <p:spPr bwMode="gray">
            <a:xfrm>
              <a:off x="764932" y="2511411"/>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費用概算総額</a:t>
              </a:r>
            </a:p>
          </p:txBody>
        </p:sp>
        <p:sp>
          <p:nvSpPr>
            <p:cNvPr id="7" name="正方形/長方形 6">
              <a:extLst>
                <a:ext uri="{FF2B5EF4-FFF2-40B4-BE49-F238E27FC236}">
                  <a16:creationId xmlns:a16="http://schemas.microsoft.com/office/drawing/2014/main" id="{0B1793C3-EC72-40D2-B5B3-D37E9C200A0E}"/>
                </a:ext>
              </a:extLst>
            </p:cNvPr>
            <p:cNvSpPr/>
            <p:nvPr/>
          </p:nvSpPr>
          <p:spPr bwMode="gray">
            <a:xfrm>
              <a:off x="764932" y="3362609"/>
              <a:ext cx="418956" cy="2084767"/>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eaVert"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内訳</a:t>
              </a:r>
            </a:p>
          </p:txBody>
        </p:sp>
        <p:sp>
          <p:nvSpPr>
            <p:cNvPr id="8" name="正方形/長方形 7">
              <a:extLst>
                <a:ext uri="{FF2B5EF4-FFF2-40B4-BE49-F238E27FC236}">
                  <a16:creationId xmlns:a16="http://schemas.microsoft.com/office/drawing/2014/main" id="{05DB93A3-29F1-45E7-9EB7-259DF624B267}"/>
                </a:ext>
              </a:extLst>
            </p:cNvPr>
            <p:cNvSpPr/>
            <p:nvPr/>
          </p:nvSpPr>
          <p:spPr bwMode="gray">
            <a:xfrm>
              <a:off x="3581596"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9" name="正方形/長方形 8">
              <a:extLst>
                <a:ext uri="{FF2B5EF4-FFF2-40B4-BE49-F238E27FC236}">
                  <a16:creationId xmlns:a16="http://schemas.microsoft.com/office/drawing/2014/main" id="{E8A7B6ED-B0E4-43AE-A05B-B10303693A5B}"/>
                </a:ext>
              </a:extLst>
            </p:cNvPr>
            <p:cNvSpPr/>
            <p:nvPr/>
          </p:nvSpPr>
          <p:spPr bwMode="gray">
            <a:xfrm>
              <a:off x="764932" y="2937010"/>
              <a:ext cx="2734407"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プロジェクト支援費</a:t>
              </a:r>
            </a:p>
          </p:txBody>
        </p:sp>
        <p:grpSp>
          <p:nvGrpSpPr>
            <p:cNvPr id="28" name="グループ化 27">
              <a:extLst>
                <a:ext uri="{FF2B5EF4-FFF2-40B4-BE49-F238E27FC236}">
                  <a16:creationId xmlns:a16="http://schemas.microsoft.com/office/drawing/2014/main" id="{4D48E44F-8127-42B6-9BD3-62C5BE56528F}"/>
                </a:ext>
              </a:extLst>
            </p:cNvPr>
            <p:cNvGrpSpPr/>
            <p:nvPr/>
          </p:nvGrpSpPr>
          <p:grpSpPr>
            <a:xfrm>
              <a:off x="1238650" y="3362608"/>
              <a:ext cx="2260688" cy="2084767"/>
              <a:chOff x="929121" y="3128700"/>
              <a:chExt cx="1380916" cy="2258498"/>
            </a:xfrm>
          </p:grpSpPr>
          <p:sp>
            <p:nvSpPr>
              <p:cNvPr id="15" name="正方形/長方形 14">
                <a:extLst>
                  <a:ext uri="{FF2B5EF4-FFF2-40B4-BE49-F238E27FC236}">
                    <a16:creationId xmlns:a16="http://schemas.microsoft.com/office/drawing/2014/main" id="{20993619-E2A8-4699-9A46-D8785EB6DD5C}"/>
                  </a:ext>
                </a:extLst>
              </p:cNvPr>
              <p:cNvSpPr/>
              <p:nvPr/>
            </p:nvSpPr>
            <p:spPr bwMode="gray">
              <a:xfrm>
                <a:off x="929121" y="405083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6" name="正方形/長方形 15">
                <a:extLst>
                  <a:ext uri="{FF2B5EF4-FFF2-40B4-BE49-F238E27FC236}">
                    <a16:creationId xmlns:a16="http://schemas.microsoft.com/office/drawing/2014/main" id="{C8A09AD8-9860-4DC8-BB51-CD6459E0A557}"/>
                  </a:ext>
                </a:extLst>
              </p:cNvPr>
              <p:cNvSpPr/>
              <p:nvPr/>
            </p:nvSpPr>
            <p:spPr bwMode="gray">
              <a:xfrm>
                <a:off x="929121" y="4511898"/>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17" name="正方形/長方形 16">
                <a:extLst>
                  <a:ext uri="{FF2B5EF4-FFF2-40B4-BE49-F238E27FC236}">
                    <a16:creationId xmlns:a16="http://schemas.microsoft.com/office/drawing/2014/main" id="{8892C418-F417-4683-BC14-C9AB0F852BCE}"/>
                  </a:ext>
                </a:extLst>
              </p:cNvPr>
              <p:cNvSpPr/>
              <p:nvPr/>
            </p:nvSpPr>
            <p:spPr bwMode="gray">
              <a:xfrm>
                <a:off x="929121" y="4972963"/>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6" name="正方形/長方形 25">
                <a:extLst>
                  <a:ext uri="{FF2B5EF4-FFF2-40B4-BE49-F238E27FC236}">
                    <a16:creationId xmlns:a16="http://schemas.microsoft.com/office/drawing/2014/main" id="{F471DFB3-9995-4F96-B735-FF88246BEC93}"/>
                  </a:ext>
                </a:extLst>
              </p:cNvPr>
              <p:cNvSpPr/>
              <p:nvPr/>
            </p:nvSpPr>
            <p:spPr bwMode="gray">
              <a:xfrm>
                <a:off x="929121" y="3589766"/>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sp>
            <p:nvSpPr>
              <p:cNvPr id="27" name="正方形/長方形 26">
                <a:extLst>
                  <a:ext uri="{FF2B5EF4-FFF2-40B4-BE49-F238E27FC236}">
                    <a16:creationId xmlns:a16="http://schemas.microsoft.com/office/drawing/2014/main" id="{872CCCAB-B408-417F-AFBD-5F9E350B6820}"/>
                  </a:ext>
                </a:extLst>
              </p:cNvPr>
              <p:cNvSpPr/>
              <p:nvPr/>
            </p:nvSpPr>
            <p:spPr bwMode="gray">
              <a:xfrm>
                <a:off x="929121" y="3128700"/>
                <a:ext cx="1380916" cy="414235"/>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defTabSz="914390">
                  <a:buSzPct val="100000"/>
                </a:pP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〇〇費</a:t>
                </a:r>
              </a:p>
            </p:txBody>
          </p:sp>
        </p:grpSp>
        <p:sp>
          <p:nvSpPr>
            <p:cNvPr id="30" name="正方形/長方形 29">
              <a:extLst>
                <a:ext uri="{FF2B5EF4-FFF2-40B4-BE49-F238E27FC236}">
                  <a16:creationId xmlns:a16="http://schemas.microsoft.com/office/drawing/2014/main" id="{3D1FBE84-5A2A-4005-A688-7F42E710EBBA}"/>
                </a:ext>
              </a:extLst>
            </p:cNvPr>
            <p:cNvSpPr/>
            <p:nvPr/>
          </p:nvSpPr>
          <p:spPr bwMode="gray">
            <a:xfrm>
              <a:off x="3581595"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3</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1" name="正方形/長方形 30">
              <a:extLst>
                <a:ext uri="{FF2B5EF4-FFF2-40B4-BE49-F238E27FC236}">
                  <a16:creationId xmlns:a16="http://schemas.microsoft.com/office/drawing/2014/main" id="{0511A7E8-6333-4831-82CF-D4B67A9C597D}"/>
                </a:ext>
              </a:extLst>
            </p:cNvPr>
            <p:cNvSpPr/>
            <p:nvPr/>
          </p:nvSpPr>
          <p:spPr bwMode="gray">
            <a:xfrm>
              <a:off x="5390367"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024</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年度</a:t>
              </a:r>
            </a:p>
          </p:txBody>
        </p:sp>
        <p:sp>
          <p:nvSpPr>
            <p:cNvPr id="32" name="正方形/長方形 31">
              <a:extLst>
                <a:ext uri="{FF2B5EF4-FFF2-40B4-BE49-F238E27FC236}">
                  <a16:creationId xmlns:a16="http://schemas.microsoft.com/office/drawing/2014/main" id="{1D23FAAE-B5AA-444E-8BEF-E88A168FEA4A}"/>
                </a:ext>
              </a:extLst>
            </p:cNvPr>
            <p:cNvSpPr/>
            <p:nvPr/>
          </p:nvSpPr>
          <p:spPr bwMode="gray">
            <a:xfrm>
              <a:off x="7199139" y="2112511"/>
              <a:ext cx="1697852" cy="382371"/>
            </a:xfrm>
            <a:prstGeom prst="rect">
              <a:avLst/>
            </a:prstGeom>
            <a:solidFill>
              <a:schemeClr val="bg2">
                <a:lumMod val="90000"/>
              </a:schemeClr>
            </a:solid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ctr" defTabSz="914390">
                <a:buSzPct val="100000"/>
              </a:pPr>
              <a:r>
                <a:rPr kumimoji="1" lang="en-US" altLang="ja-JP" sz="1200" b="1">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00" b="1">
                  <a:latin typeface="Yu Gothic UI" panose="020B0500000000000000" pitchFamily="50" charset="-128"/>
                  <a:ea typeface="Yu Gothic UI" panose="020B0500000000000000" pitchFamily="50" charset="-128"/>
                  <a:sym typeface="Yu Gothic UI" panose="020B0500000000000000" pitchFamily="50" charset="-128"/>
                </a:rPr>
                <a:t>か年合計</a:t>
              </a:r>
            </a:p>
          </p:txBody>
        </p:sp>
        <p:sp>
          <p:nvSpPr>
            <p:cNvPr id="33" name="正方形/長方形 32">
              <a:extLst>
                <a:ext uri="{FF2B5EF4-FFF2-40B4-BE49-F238E27FC236}">
                  <a16:creationId xmlns:a16="http://schemas.microsoft.com/office/drawing/2014/main" id="{53EE54FE-6EEC-42CE-AC33-089E4A794CC9}"/>
                </a:ext>
              </a:extLst>
            </p:cNvPr>
            <p:cNvSpPr/>
            <p:nvPr/>
          </p:nvSpPr>
          <p:spPr bwMode="gray">
            <a:xfrm>
              <a:off x="5390367"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4" name="正方形/長方形 33">
              <a:extLst>
                <a:ext uri="{FF2B5EF4-FFF2-40B4-BE49-F238E27FC236}">
                  <a16:creationId xmlns:a16="http://schemas.microsoft.com/office/drawing/2014/main" id="{38409CE4-598A-4850-B79C-74A8BB686A8E}"/>
                </a:ext>
              </a:extLst>
            </p:cNvPr>
            <p:cNvSpPr/>
            <p:nvPr/>
          </p:nvSpPr>
          <p:spPr bwMode="gray">
            <a:xfrm>
              <a:off x="7199139" y="2511411"/>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5" name="正方形/長方形 34">
              <a:extLst>
                <a:ext uri="{FF2B5EF4-FFF2-40B4-BE49-F238E27FC236}">
                  <a16:creationId xmlns:a16="http://schemas.microsoft.com/office/drawing/2014/main" id="{F639D912-4736-42FA-B329-F4307F777778}"/>
                </a:ext>
              </a:extLst>
            </p:cNvPr>
            <p:cNvSpPr/>
            <p:nvPr/>
          </p:nvSpPr>
          <p:spPr bwMode="gray">
            <a:xfrm>
              <a:off x="3581596"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6" name="正方形/長方形 35">
              <a:extLst>
                <a:ext uri="{FF2B5EF4-FFF2-40B4-BE49-F238E27FC236}">
                  <a16:creationId xmlns:a16="http://schemas.microsoft.com/office/drawing/2014/main" id="{A2A97F2D-5E71-48C5-9CD2-828D97C88555}"/>
                </a:ext>
              </a:extLst>
            </p:cNvPr>
            <p:cNvSpPr/>
            <p:nvPr/>
          </p:nvSpPr>
          <p:spPr bwMode="gray">
            <a:xfrm>
              <a:off x="5390367"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7" name="正方形/長方形 36">
              <a:extLst>
                <a:ext uri="{FF2B5EF4-FFF2-40B4-BE49-F238E27FC236}">
                  <a16:creationId xmlns:a16="http://schemas.microsoft.com/office/drawing/2014/main" id="{56084F2C-549C-4EA2-AD25-E80DD71732E9}"/>
                </a:ext>
              </a:extLst>
            </p:cNvPr>
            <p:cNvSpPr/>
            <p:nvPr/>
          </p:nvSpPr>
          <p:spPr bwMode="gray">
            <a:xfrm>
              <a:off x="7199139" y="2937010"/>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8" name="正方形/長方形 37">
              <a:extLst>
                <a:ext uri="{FF2B5EF4-FFF2-40B4-BE49-F238E27FC236}">
                  <a16:creationId xmlns:a16="http://schemas.microsoft.com/office/drawing/2014/main" id="{6776E9F7-6A2F-4F73-B912-EAB3EE18AD6D}"/>
                </a:ext>
              </a:extLst>
            </p:cNvPr>
            <p:cNvSpPr/>
            <p:nvPr/>
          </p:nvSpPr>
          <p:spPr bwMode="gray">
            <a:xfrm>
              <a:off x="3581596"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39" name="正方形/長方形 38">
              <a:extLst>
                <a:ext uri="{FF2B5EF4-FFF2-40B4-BE49-F238E27FC236}">
                  <a16:creationId xmlns:a16="http://schemas.microsoft.com/office/drawing/2014/main" id="{C19FBB6B-649E-482D-A91C-C66E0BE2CAB7}"/>
                </a:ext>
              </a:extLst>
            </p:cNvPr>
            <p:cNvSpPr/>
            <p:nvPr/>
          </p:nvSpPr>
          <p:spPr bwMode="gray">
            <a:xfrm>
              <a:off x="5390367"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0" name="正方形/長方形 39">
              <a:extLst>
                <a:ext uri="{FF2B5EF4-FFF2-40B4-BE49-F238E27FC236}">
                  <a16:creationId xmlns:a16="http://schemas.microsoft.com/office/drawing/2014/main" id="{0320741A-DEC8-427C-A598-6ABB4D348909}"/>
                </a:ext>
              </a:extLst>
            </p:cNvPr>
            <p:cNvSpPr/>
            <p:nvPr/>
          </p:nvSpPr>
          <p:spPr bwMode="gray">
            <a:xfrm>
              <a:off x="7199139" y="3362609"/>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1" name="正方形/長方形 40">
              <a:extLst>
                <a:ext uri="{FF2B5EF4-FFF2-40B4-BE49-F238E27FC236}">
                  <a16:creationId xmlns:a16="http://schemas.microsoft.com/office/drawing/2014/main" id="{FBF25ACB-D54D-400B-9AE3-9B892F3A4552}"/>
                </a:ext>
              </a:extLst>
            </p:cNvPr>
            <p:cNvSpPr/>
            <p:nvPr/>
          </p:nvSpPr>
          <p:spPr bwMode="gray">
            <a:xfrm>
              <a:off x="3581596"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2" name="正方形/長方形 41">
              <a:extLst>
                <a:ext uri="{FF2B5EF4-FFF2-40B4-BE49-F238E27FC236}">
                  <a16:creationId xmlns:a16="http://schemas.microsoft.com/office/drawing/2014/main" id="{1C7F56F6-E843-4E6F-8564-89C6AFBC8497}"/>
                </a:ext>
              </a:extLst>
            </p:cNvPr>
            <p:cNvSpPr/>
            <p:nvPr/>
          </p:nvSpPr>
          <p:spPr bwMode="gray">
            <a:xfrm>
              <a:off x="5390367"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3" name="正方形/長方形 42">
              <a:extLst>
                <a:ext uri="{FF2B5EF4-FFF2-40B4-BE49-F238E27FC236}">
                  <a16:creationId xmlns:a16="http://schemas.microsoft.com/office/drawing/2014/main" id="{1E36CF16-5E03-4A11-B0DB-1681F4DE468B}"/>
                </a:ext>
              </a:extLst>
            </p:cNvPr>
            <p:cNvSpPr/>
            <p:nvPr/>
          </p:nvSpPr>
          <p:spPr bwMode="gray">
            <a:xfrm>
              <a:off x="7199139" y="3788208"/>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4" name="正方形/長方形 43">
              <a:extLst>
                <a:ext uri="{FF2B5EF4-FFF2-40B4-BE49-F238E27FC236}">
                  <a16:creationId xmlns:a16="http://schemas.microsoft.com/office/drawing/2014/main" id="{B06DDDC0-BE2F-4193-AD84-051528F6CC63}"/>
                </a:ext>
              </a:extLst>
            </p:cNvPr>
            <p:cNvSpPr/>
            <p:nvPr/>
          </p:nvSpPr>
          <p:spPr bwMode="gray">
            <a:xfrm>
              <a:off x="3581596"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5" name="正方形/長方形 44">
              <a:extLst>
                <a:ext uri="{FF2B5EF4-FFF2-40B4-BE49-F238E27FC236}">
                  <a16:creationId xmlns:a16="http://schemas.microsoft.com/office/drawing/2014/main" id="{AC983301-A9E6-4047-A217-E3E227B0D32A}"/>
                </a:ext>
              </a:extLst>
            </p:cNvPr>
            <p:cNvSpPr/>
            <p:nvPr/>
          </p:nvSpPr>
          <p:spPr bwMode="gray">
            <a:xfrm>
              <a:off x="5390367"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6" name="正方形/長方形 45">
              <a:extLst>
                <a:ext uri="{FF2B5EF4-FFF2-40B4-BE49-F238E27FC236}">
                  <a16:creationId xmlns:a16="http://schemas.microsoft.com/office/drawing/2014/main" id="{BC211C81-CFB1-40F7-B221-D5BC78BA9395}"/>
                </a:ext>
              </a:extLst>
            </p:cNvPr>
            <p:cNvSpPr/>
            <p:nvPr/>
          </p:nvSpPr>
          <p:spPr bwMode="gray">
            <a:xfrm>
              <a:off x="7199139" y="4213807"/>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7" name="正方形/長方形 46">
              <a:extLst>
                <a:ext uri="{FF2B5EF4-FFF2-40B4-BE49-F238E27FC236}">
                  <a16:creationId xmlns:a16="http://schemas.microsoft.com/office/drawing/2014/main" id="{EE407BCE-8A80-4A1F-9787-ACDADF6F1840}"/>
                </a:ext>
              </a:extLst>
            </p:cNvPr>
            <p:cNvSpPr/>
            <p:nvPr/>
          </p:nvSpPr>
          <p:spPr bwMode="gray">
            <a:xfrm>
              <a:off x="3581596"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8" name="正方形/長方形 47">
              <a:extLst>
                <a:ext uri="{FF2B5EF4-FFF2-40B4-BE49-F238E27FC236}">
                  <a16:creationId xmlns:a16="http://schemas.microsoft.com/office/drawing/2014/main" id="{61FEC94E-98EC-47DE-A4C5-0A5656913A7F}"/>
                </a:ext>
              </a:extLst>
            </p:cNvPr>
            <p:cNvSpPr/>
            <p:nvPr/>
          </p:nvSpPr>
          <p:spPr bwMode="gray">
            <a:xfrm>
              <a:off x="5390367"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49" name="正方形/長方形 48">
              <a:extLst>
                <a:ext uri="{FF2B5EF4-FFF2-40B4-BE49-F238E27FC236}">
                  <a16:creationId xmlns:a16="http://schemas.microsoft.com/office/drawing/2014/main" id="{81B8566C-BC02-4776-A755-7F6E69629796}"/>
                </a:ext>
              </a:extLst>
            </p:cNvPr>
            <p:cNvSpPr/>
            <p:nvPr/>
          </p:nvSpPr>
          <p:spPr bwMode="gray">
            <a:xfrm>
              <a:off x="7199139" y="4639406"/>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0" name="正方形/長方形 49">
              <a:extLst>
                <a:ext uri="{FF2B5EF4-FFF2-40B4-BE49-F238E27FC236}">
                  <a16:creationId xmlns:a16="http://schemas.microsoft.com/office/drawing/2014/main" id="{5F010271-F02A-42BC-99D4-782A07A871D7}"/>
                </a:ext>
              </a:extLst>
            </p:cNvPr>
            <p:cNvSpPr/>
            <p:nvPr/>
          </p:nvSpPr>
          <p:spPr bwMode="gray">
            <a:xfrm>
              <a:off x="3581596"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1" name="正方形/長方形 50">
              <a:extLst>
                <a:ext uri="{FF2B5EF4-FFF2-40B4-BE49-F238E27FC236}">
                  <a16:creationId xmlns:a16="http://schemas.microsoft.com/office/drawing/2014/main" id="{DB35541A-4FB1-4541-A881-04731D988F37}"/>
                </a:ext>
              </a:extLst>
            </p:cNvPr>
            <p:cNvSpPr/>
            <p:nvPr/>
          </p:nvSpPr>
          <p:spPr bwMode="gray">
            <a:xfrm>
              <a:off x="5390367"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sp>
          <p:nvSpPr>
            <p:cNvPr id="52" name="正方形/長方形 51">
              <a:extLst>
                <a:ext uri="{FF2B5EF4-FFF2-40B4-BE49-F238E27FC236}">
                  <a16:creationId xmlns:a16="http://schemas.microsoft.com/office/drawing/2014/main" id="{397A9B2D-51BB-4078-A5CB-690B2063E9D3}"/>
                </a:ext>
              </a:extLst>
            </p:cNvPr>
            <p:cNvSpPr/>
            <p:nvPr/>
          </p:nvSpPr>
          <p:spPr bwMode="gray">
            <a:xfrm>
              <a:off x="7199139" y="5065004"/>
              <a:ext cx="1697852" cy="382371"/>
            </a:xfrm>
            <a:prstGeom prst="rect">
              <a:avLst/>
            </a:prstGeom>
            <a:noFill/>
            <a:ln w="12700" algn="ctr">
              <a:solidFill>
                <a:schemeClr val="bg2">
                  <a:lumMod val="90000"/>
                </a:schemeClr>
              </a:solidFill>
              <a:miter lim="800000"/>
              <a:headEnd/>
              <a:tailEnd/>
            </a:ln>
          </p:spPr>
          <p:txBody>
            <a:bodyPr rot="0" spcFirstLastPara="0" vertOverflow="overflow" horzOverflow="overflow" vert="horz" wrap="none" lIns="33231" tIns="33231" rIns="33231" bIns="33231" numCol="1" spcCol="0" rtlCol="0" fromWordArt="0" anchor="ctr" anchorCtr="0" forceAA="0" compatLnSpc="1">
              <a:prstTxWarp prst="textNoShape">
                <a:avLst/>
              </a:prstTxWarp>
              <a:noAutofit/>
            </a:bodyPr>
            <a:lstStyle/>
            <a:p>
              <a:pPr algn="r" defTabSz="914390">
                <a:buSzPct val="100000"/>
              </a:pPr>
              <a:r>
                <a:rPr kumimoji="1" lang="ja-JP" altLang="en-US" sz="1200">
                  <a:latin typeface="Yu Gothic UI" panose="020B0500000000000000" pitchFamily="50" charset="-128"/>
                  <a:ea typeface="Yu Gothic UI" panose="020B0500000000000000" pitchFamily="50" charset="-128"/>
                  <a:sym typeface="Yu Gothic UI" panose="020B0500000000000000" pitchFamily="50" charset="-128"/>
                </a:rPr>
                <a:t>円</a:t>
              </a:r>
            </a:p>
          </p:txBody>
        </p:sp>
      </p:grpSp>
      <p:sp>
        <p:nvSpPr>
          <p:cNvPr id="53" name="正方形/長方形 52">
            <a:extLst>
              <a:ext uri="{FF2B5EF4-FFF2-40B4-BE49-F238E27FC236}">
                <a16:creationId xmlns:a16="http://schemas.microsoft.com/office/drawing/2014/main" id="{262D6AF5-7B1E-40BE-84A4-632E968827F6}"/>
              </a:ext>
            </a:extLst>
          </p:cNvPr>
          <p:cNvSpPr/>
          <p:nvPr/>
        </p:nvSpPr>
        <p:spPr bwMode="gray">
          <a:xfrm>
            <a:off x="415925" y="2399276"/>
            <a:ext cx="752579" cy="335414"/>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 B</a:t>
            </a:r>
          </a:p>
        </p:txBody>
      </p:sp>
    </p:spTree>
    <p:extLst>
      <p:ext uri="{BB962C8B-B14F-4D97-AF65-F5344CB8AC3E}">
        <p14:creationId xmlns:p14="http://schemas.microsoft.com/office/powerpoint/2010/main" val="20364974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3DCE3113-1AFE-47F3-8988-D40381D11595}"/>
              </a:ext>
            </a:extLst>
          </p:cNvPr>
          <p:cNvGraphicFramePr>
            <a:graphicFrameLocks noChangeAspect="1"/>
          </p:cNvGraphicFramePr>
          <p:nvPr>
            <p:custDataLst>
              <p:tags r:id="rId1"/>
            </p:custDataLst>
            <p:extLst>
              <p:ext uri="{D42A27DB-BD31-4B8C-83A1-F6EECF244321}">
                <p14:modId xmlns:p14="http://schemas.microsoft.com/office/powerpoint/2010/main" val="309920379"/>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11" name="オブジェクト 10" hidden="1">
                        <a:extLst>
                          <a:ext uri="{FF2B5EF4-FFF2-40B4-BE49-F238E27FC236}">
                            <a16:creationId xmlns:a16="http://schemas.microsoft.com/office/drawing/2014/main" id="{3DCE3113-1AFE-47F3-8988-D40381D11595}"/>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FC5076C-8021-4481-ADDB-66FE6939CB06}"/>
              </a:ext>
            </a:extLst>
          </p:cNvPr>
          <p:cNvSpPr txBox="1"/>
          <p:nvPr/>
        </p:nvSpPr>
        <p:spPr bwMode="gray">
          <a:xfrm>
            <a:off x="869913" y="1181723"/>
            <a:ext cx="844062" cy="292388"/>
          </a:xfrm>
          <a:prstGeom prst="rect">
            <a:avLst/>
          </a:prstGeom>
          <a:noFill/>
        </p:spPr>
        <p:txBody>
          <a:bodyPr wrap="square" lIns="0" tIns="0" rIns="0" bIns="0" rtlCol="0">
            <a:spAutoFit/>
          </a:bodyPr>
          <a:lstStyle/>
          <a:p>
            <a:pPr defTabSz="914390">
              <a:buSzPct val="100000"/>
            </a:pPr>
            <a:r>
              <a:rPr kumimoji="1" lang="ja-JP" altLang="en-US" b="1">
                <a:solidFill>
                  <a:schemeClr val="bg1">
                    <a:lumMod val="95000"/>
                  </a:schemeClr>
                </a:solidFill>
                <a:latin typeface="Yu Gothic UI" panose="020B0500000000000000" pitchFamily="50" charset="-128"/>
                <a:ea typeface="Yu Gothic UI" panose="020B0500000000000000" pitchFamily="50" charset="-128"/>
                <a:sym typeface="Yu Gothic UI" panose="020B0500000000000000" pitchFamily="50" charset="-128"/>
              </a:rPr>
              <a:t>○</a:t>
            </a:r>
          </a:p>
        </p:txBody>
      </p:sp>
      <p:graphicFrame>
        <p:nvGraphicFramePr>
          <p:cNvPr id="5" name="表 6">
            <a:extLst>
              <a:ext uri="{FF2B5EF4-FFF2-40B4-BE49-F238E27FC236}">
                <a16:creationId xmlns:a16="http://schemas.microsoft.com/office/drawing/2014/main" id="{44DF5125-1A4E-404B-9D50-05C9C3EED35E}"/>
              </a:ext>
            </a:extLst>
          </p:cNvPr>
          <p:cNvGraphicFramePr>
            <a:graphicFrameLocks noGrp="1"/>
          </p:cNvGraphicFramePr>
          <p:nvPr/>
        </p:nvGraphicFramePr>
        <p:xfrm>
          <a:off x="786619" y="1139549"/>
          <a:ext cx="6688675" cy="385236"/>
        </p:xfrm>
        <a:graphic>
          <a:graphicData uri="http://schemas.openxmlformats.org/drawingml/2006/table">
            <a:tbl>
              <a:tblPr firstRow="1" bandRow="1">
                <a:tableStyleId>{5C22544A-7EE6-4342-B048-85BDC9FD1C3A}</a:tableStyleId>
              </a:tblPr>
              <a:tblGrid>
                <a:gridCol w="506198">
                  <a:extLst>
                    <a:ext uri="{9D8B030D-6E8A-4147-A177-3AD203B41FA5}">
                      <a16:colId xmlns:a16="http://schemas.microsoft.com/office/drawing/2014/main" val="3320992417"/>
                    </a:ext>
                  </a:extLst>
                </a:gridCol>
                <a:gridCol w="6182477">
                  <a:extLst>
                    <a:ext uri="{9D8B030D-6E8A-4147-A177-3AD203B41FA5}">
                      <a16:colId xmlns:a16="http://schemas.microsoft.com/office/drawing/2014/main" val="3647074618"/>
                    </a:ext>
                  </a:extLst>
                </a:gridCol>
              </a:tblGrid>
              <a:tr h="385236">
                <a:tc>
                  <a:txBody>
                    <a:bodyPr/>
                    <a:lstStyle/>
                    <a:p>
                      <a:endParaRPr kumimoji="1" lang="ja-JP" altLang="en-US" sz="170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7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以下の内容を理解した上で、適切に遵守していることを表明する。</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1624435"/>
                  </a:ext>
                </a:extLst>
              </a:tr>
            </a:tbl>
          </a:graphicData>
        </a:graphic>
      </p:graphicFrame>
      <p:sp>
        <p:nvSpPr>
          <p:cNvPr id="50" name="テキスト ボックス 49">
            <a:extLst>
              <a:ext uri="{FF2B5EF4-FFF2-40B4-BE49-F238E27FC236}">
                <a16:creationId xmlns:a16="http://schemas.microsoft.com/office/drawing/2014/main" id="{E6EABCB6-ABF4-4A95-932C-3F1DE18FD461}"/>
              </a:ext>
            </a:extLst>
          </p:cNvPr>
          <p:cNvSpPr txBox="1"/>
          <p:nvPr/>
        </p:nvSpPr>
        <p:spPr bwMode="gray">
          <a:xfrm>
            <a:off x="764932" y="612168"/>
            <a:ext cx="4022481" cy="198837"/>
          </a:xfrm>
          <a:prstGeom prst="rect">
            <a:avLst/>
          </a:prstGeom>
          <a:noFill/>
        </p:spPr>
        <p:txBody>
          <a:bodyPr wrap="square" lIns="0" tIns="0" rIns="0" bIns="0" rtlCol="0">
            <a:spAutoFit/>
          </a:bodyPr>
          <a:lstStyle/>
          <a:p>
            <a:pPr defTabSz="914390">
              <a:buSzPct val="100000"/>
            </a:pPr>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応募要件の遵守表明</a:t>
            </a:r>
          </a:p>
        </p:txBody>
      </p:sp>
      <p:sp>
        <p:nvSpPr>
          <p:cNvPr id="53" name="テキスト ボックス 52">
            <a:extLst>
              <a:ext uri="{FF2B5EF4-FFF2-40B4-BE49-F238E27FC236}">
                <a16:creationId xmlns:a16="http://schemas.microsoft.com/office/drawing/2014/main" id="{05720898-E4D6-4455-9F67-AB721AFEEF8E}"/>
              </a:ext>
            </a:extLst>
          </p:cNvPr>
          <p:cNvSpPr txBox="1"/>
          <p:nvPr/>
        </p:nvSpPr>
        <p:spPr bwMode="gray">
          <a:xfrm>
            <a:off x="786619" y="851763"/>
            <a:ext cx="8354451" cy="340991"/>
          </a:xfrm>
          <a:prstGeom prst="rect">
            <a:avLst/>
          </a:prstGeom>
          <a:noFill/>
        </p:spPr>
        <p:txBody>
          <a:bodyPr wrap="square" lIns="0" tIns="0" rIns="0" bIns="0" rtlCol="0">
            <a:spAutoFit/>
          </a:bodyPr>
          <a:lstStyle/>
          <a:p>
            <a:pPr defTabSz="914390">
              <a:buSzPct val="100000"/>
            </a:pPr>
            <a:r>
              <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表明する場合は〇をつけ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defTabSz="914390">
              <a:buSzPct val="100000"/>
            </a:pPr>
            <a:endParaRPr kumimoji="1" lang="ja-JP" altLang="en-US" sz="1108">
              <a:solidFill>
                <a:prstClr val="black"/>
              </a:solidFill>
            </a:endParaRPr>
          </a:p>
        </p:txBody>
      </p:sp>
      <p:sp>
        <p:nvSpPr>
          <p:cNvPr id="8" name="テキスト ボックス 7">
            <a:extLst>
              <a:ext uri="{FF2B5EF4-FFF2-40B4-BE49-F238E27FC236}">
                <a16:creationId xmlns:a16="http://schemas.microsoft.com/office/drawing/2014/main" id="{816BC759-CFA1-49CB-B1C3-B353D772CAC6}"/>
              </a:ext>
            </a:extLst>
          </p:cNvPr>
          <p:cNvSpPr txBox="1"/>
          <p:nvPr/>
        </p:nvSpPr>
        <p:spPr bwMode="gray">
          <a:xfrm>
            <a:off x="764932" y="2046823"/>
            <a:ext cx="4022481" cy="198837"/>
          </a:xfrm>
          <a:prstGeom prst="rect">
            <a:avLst/>
          </a:prstGeom>
          <a:noFill/>
        </p:spPr>
        <p:txBody>
          <a:bodyPr wrap="square" lIns="0" tIns="0" rIns="0" bIns="0" rtlCol="0">
            <a:spAutoFit/>
          </a:bodyPr>
          <a:lstStyle/>
          <a:p>
            <a:pPr defTabSz="914390">
              <a:buSzPct val="100000"/>
            </a:pPr>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応募要件の遵守表明</a:t>
            </a:r>
          </a:p>
        </p:txBody>
      </p:sp>
      <p:sp>
        <p:nvSpPr>
          <p:cNvPr id="4" name="テキスト ボックス 3">
            <a:extLst>
              <a:ext uri="{FF2B5EF4-FFF2-40B4-BE49-F238E27FC236}">
                <a16:creationId xmlns:a16="http://schemas.microsoft.com/office/drawing/2014/main" id="{6D770DF6-F588-40B0-808A-BF9058AD3D5C}"/>
              </a:ext>
            </a:extLst>
          </p:cNvPr>
          <p:cNvSpPr txBox="1"/>
          <p:nvPr/>
        </p:nvSpPr>
        <p:spPr bwMode="gray">
          <a:xfrm>
            <a:off x="764931" y="2254486"/>
            <a:ext cx="8374155" cy="4333238"/>
          </a:xfrm>
          <a:prstGeom prst="rect">
            <a:avLst/>
          </a:prstGeom>
          <a:noFill/>
        </p:spPr>
        <p:txBody>
          <a:bodyPr wrap="square" lIns="0" tIns="0" rIns="0" bIns="0" rtlCol="0">
            <a:spAutoFit/>
          </a:bodyPr>
          <a:lstStyle/>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都や他自治体、国と業務委託や助成等金銭的な利害関係を持たない分科会プロジェクトであること。なお、金銭的な利害関係があるものと解釈される恐れがある際は、事業プロモーターに事前に相談すること。</a:t>
            </a:r>
            <a:endPar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実施にあたり、関係法令を順守し、分科会プロジェクトの安全性を確保する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実施は、分科会リーダーの責任で行うこと。プロジェクト実施に関して発生した損害（第三者に及ぼした損害を含む。）については、分科会リーダーがその費用を負担するものとする。また、分科会リーダーは、プロジェクトの実施において、参加者に傷害が生じた場合に備え、必要に応じて保険等に加入する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事業プロモーターの関係会社（財務諸表等の用語、様式及び作成方法に関する規則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8</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8</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項）が含まれる分科会プロジェクトでは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法令等に違反して、刑罰並びに許認可等取消し、金銭の納付等の処分を受けたことがなく、募集期間終了日時点においてそれらの処分等を受けるおそれのある事実が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法人に課される税及び法人が支払うべき社会保険料等の滞納が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企画提案書提出時に都からの指名停止措置が講じられていないこと。また、公的機関（政府及び地方公共団体並びにそれらの関係機関）との契約における違反が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公共の安全及び秩序を脅かすおそれのある行為を行っておらず、または将来においても行わ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政治活動、選挙運動、又は宗教活動を目的とする法人でない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暴力団（東京都暴力団排除条例（平成</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3</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年東京都条例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54</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以下「暴排条例」という。）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に規定する暴力団をいう。）に該当せず、かつ、法人の代表者、役員又は使用人その他の従業者若しくは構成員に暴力団員等（暴排条例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3</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に規定する暴力団員及び同条第</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4</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号に規定する暴力団関係者をいう。）に該当する者がないこと。</a:t>
            </a:r>
            <a:endPar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本公募においては、必ず </a:t>
            </a:r>
            <a:r>
              <a:rPr kumimoji="1" lang="en-US" altLang="ja-JP"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2 </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団体</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以上（分科会</a:t>
            </a: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リーダー含む）の実施体制を確保したうえで応募すること。</a:t>
            </a:r>
          </a:p>
          <a:p>
            <a:pPr marL="211021" indent="-211021" defTabSz="914390">
              <a:spcBef>
                <a:spcPts val="554"/>
              </a:spcBef>
              <a:buSzPct val="100000"/>
              <a:buFont typeface="+mj-lt"/>
              <a:buAutoNum type="arabicPeriod"/>
            </a:pPr>
            <a:r>
              <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分科会リーダー以外の分科会プロジェクト構成員及びその再委託先についても、分科会リーダーと同様に、募集要領で定める内容を遵守すること。</a:t>
            </a:r>
          </a:p>
          <a:p>
            <a:pPr marL="211021" indent="-211021" defTabSz="914390">
              <a:spcBef>
                <a:spcPts val="554"/>
              </a:spcBef>
              <a:buSzPct val="100000"/>
              <a:buFont typeface="+mj-lt"/>
              <a:buAutoNum type="arabicPeriod"/>
            </a:pPr>
            <a:endParaRPr kumimoji="1" lang="ja-JP" altLang="en-US" sz="1108" dirty="0">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 name="テキスト プレースホルダー 5">
            <a:extLst>
              <a:ext uri="{FF2B5EF4-FFF2-40B4-BE49-F238E27FC236}">
                <a16:creationId xmlns:a16="http://schemas.microsoft.com/office/drawing/2014/main" id="{37CB0CDF-264A-41A6-BF89-76E39C50DAEE}"/>
              </a:ext>
            </a:extLst>
          </p:cNvPr>
          <p:cNvSpPr>
            <a:spLocks noGrp="1"/>
          </p:cNvSpPr>
          <p:nvPr>
            <p:ph type="body" sz="quarter" idx="16"/>
          </p:nvPr>
        </p:nvSpPr>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3. </a:t>
            </a:r>
            <a:r>
              <a:rPr lang="ja-JP" altLang="en-US">
                <a:latin typeface="Yu Gothic UI" panose="020B0500000000000000" pitchFamily="50" charset="-128"/>
                <a:ea typeface="Yu Gothic UI" panose="020B0500000000000000" pitchFamily="50" charset="-128"/>
                <a:sym typeface="Yu Gothic UI" panose="020B0500000000000000" pitchFamily="50" charset="-128"/>
              </a:rPr>
              <a:t>応募要件の遵守表明</a:t>
            </a:r>
          </a:p>
        </p:txBody>
      </p:sp>
      <p:sp>
        <p:nvSpPr>
          <p:cNvPr id="10" name="スライド番号プレースホルダー 3">
            <a:extLst>
              <a:ext uri="{FF2B5EF4-FFF2-40B4-BE49-F238E27FC236}">
                <a16:creationId xmlns:a16="http://schemas.microsoft.com/office/drawing/2014/main" id="{3478E1EA-AAE7-4B6D-A225-F0F9270C33C0}"/>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24</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Tree>
    <p:extLst>
      <p:ext uri="{BB962C8B-B14F-4D97-AF65-F5344CB8AC3E}">
        <p14:creationId xmlns:p14="http://schemas.microsoft.com/office/powerpoint/2010/main" val="31173192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75F8D44D-C6DD-4032-9A96-29B141F24A46}"/>
              </a:ext>
            </a:extLst>
          </p:cNvPr>
          <p:cNvGraphicFramePr>
            <a:graphicFrameLocks noChangeAspect="1"/>
          </p:cNvGraphicFramePr>
          <p:nvPr>
            <p:custDataLst>
              <p:tags r:id="rId1"/>
            </p:custDataLst>
            <p:extLst>
              <p:ext uri="{D42A27DB-BD31-4B8C-83A1-F6EECF244321}">
                <p14:modId xmlns:p14="http://schemas.microsoft.com/office/powerpoint/2010/main" val="3679224210"/>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6" name="オブジェクト 5" hidden="1">
                        <a:extLst>
                          <a:ext uri="{FF2B5EF4-FFF2-40B4-BE49-F238E27FC236}">
                            <a16:creationId xmlns:a16="http://schemas.microsoft.com/office/drawing/2014/main" id="{75F8D44D-C6DD-4032-9A96-29B141F24A46}"/>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8937C7D7-2391-4073-B301-FFD4AFD2353C}"/>
              </a:ext>
            </a:extLst>
          </p:cNvPr>
          <p:cNvSpPr>
            <a:spLocks noGrp="1"/>
          </p:cNvSpPr>
          <p:nvPr>
            <p:ph type="body" sz="quarter" idx="10"/>
          </p:nvPr>
        </p:nvSpPr>
        <p:spPr/>
        <p:txBody>
          <a:bodyPr/>
          <a:lstStyle/>
          <a:p>
            <a:r>
              <a:rPr lang="ja-JP" altLang="en-US">
                <a:latin typeface="Yu Gothic UI" panose="020B0500000000000000" pitchFamily="50" charset="-128"/>
                <a:ea typeface="Yu Gothic UI" panose="020B0500000000000000" pitchFamily="50" charset="-128"/>
                <a:sym typeface="Yu Gothic UI" panose="020B0500000000000000" pitchFamily="50" charset="-128"/>
              </a:rPr>
              <a:t>企画内容</a:t>
            </a:r>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 name="テキスト ボックス 3">
            <a:extLst>
              <a:ext uri="{FF2B5EF4-FFF2-40B4-BE49-F238E27FC236}">
                <a16:creationId xmlns:a16="http://schemas.microsoft.com/office/drawing/2014/main" id="{7525A488-3B9F-4734-A2A1-740647274940}"/>
              </a:ext>
            </a:extLst>
          </p:cNvPr>
          <p:cNvSpPr txBox="1"/>
          <p:nvPr/>
        </p:nvSpPr>
        <p:spPr bwMode="gray">
          <a:xfrm>
            <a:off x="764932" y="4667895"/>
            <a:ext cx="4022481" cy="198837"/>
          </a:xfrm>
          <a:prstGeom prst="rect">
            <a:avLst/>
          </a:prstGeom>
          <a:noFill/>
        </p:spPr>
        <p:txBody>
          <a:bodyPr wrap="square" lIns="0" tIns="0" rIns="0" bIns="0" rtlCol="0">
            <a:spAutoFit/>
          </a:bodyPr>
          <a:lstStyle/>
          <a:p>
            <a:pPr defTabSz="914390">
              <a:buSzPct val="100000"/>
            </a:pPr>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記載方法</a:t>
            </a:r>
          </a:p>
        </p:txBody>
      </p:sp>
      <p:sp>
        <p:nvSpPr>
          <p:cNvPr id="5" name="テキスト ボックス 4">
            <a:extLst>
              <a:ext uri="{FF2B5EF4-FFF2-40B4-BE49-F238E27FC236}">
                <a16:creationId xmlns:a16="http://schemas.microsoft.com/office/drawing/2014/main" id="{7A955F3B-7147-4E74-99AD-5CF562CAE98C}"/>
              </a:ext>
            </a:extLst>
          </p:cNvPr>
          <p:cNvSpPr txBox="1"/>
          <p:nvPr/>
        </p:nvSpPr>
        <p:spPr bwMode="gray">
          <a:xfrm>
            <a:off x="786619" y="4882259"/>
            <a:ext cx="8354451" cy="1193468"/>
          </a:xfrm>
          <a:prstGeom prst="rect">
            <a:avLst/>
          </a:prstGeom>
          <a:noFill/>
        </p:spPr>
        <p:txBody>
          <a:bodyPr wrap="square" lIns="0" tIns="0" rIns="0" bIns="0" rtlCol="0">
            <a:spAutoFit/>
          </a:bodyPr>
          <a:lstStyle/>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募集要領、別紙「西新宿エリアの課題・審査基準」等を参照し、提案に係る要記載事項を記載し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フォントサイズは</a:t>
            </a:r>
            <a:r>
              <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12pt</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以上で作成してください。</a:t>
            </a: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必要に応じてスライドは複製可能です。</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電子媒体での資料提出時は</a:t>
            </a:r>
            <a:r>
              <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PPT</a:t>
            </a: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形式で提出し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資料提出時には説明文及び記載例は削除してください。</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なお本様式の他、自由様式での補足資料等を作成することは可能です。</a:t>
            </a:r>
            <a:endParaRPr kumimoji="1" lang="en-US" altLang="ja-JP"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endParaRPr>
          </a:p>
          <a:p>
            <a:pPr marL="158265" indent="-158265" defTabSz="914390">
              <a:buSzPct val="100000"/>
              <a:buFont typeface="Wingdings" panose="05000000000000000000" pitchFamily="2" charset="2"/>
              <a:buChar char="l"/>
            </a:pPr>
            <a:r>
              <a:rPr kumimoji="1" lang="ja-JP" altLang="en-US" sz="1108">
                <a:solidFill>
                  <a:prstClr val="black"/>
                </a:solidFill>
                <a:latin typeface="Yu Gothic UI" panose="020B0500000000000000" pitchFamily="50" charset="-128"/>
                <a:ea typeface="Yu Gothic UI" panose="020B0500000000000000" pitchFamily="50" charset="-128"/>
                <a:sym typeface="Yu Gothic UI" panose="020B0500000000000000" pitchFamily="50" charset="-128"/>
              </a:rPr>
              <a:t>プレゼン審査時には本様式に記載の内容がすべて含まれていれば、自由様式資料を用いてプレゼンを実施することも可能です。</a:t>
            </a:r>
          </a:p>
        </p:txBody>
      </p:sp>
    </p:spTree>
    <p:extLst>
      <p:ext uri="{BB962C8B-B14F-4D97-AF65-F5344CB8AC3E}">
        <p14:creationId xmlns:p14="http://schemas.microsoft.com/office/powerpoint/2010/main" val="6224514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9687BE7-544D-4F8F-A2D7-DF4131DC76CE}"/>
              </a:ext>
            </a:extLst>
          </p:cNvPr>
          <p:cNvGraphicFramePr>
            <a:graphicFrameLocks noChangeAspect="1"/>
          </p:cNvGraphicFramePr>
          <p:nvPr>
            <p:custDataLst>
              <p:tags r:id="rId1"/>
            </p:custDataLst>
            <p:extLst>
              <p:ext uri="{D42A27DB-BD31-4B8C-83A1-F6EECF244321}">
                <p14:modId xmlns:p14="http://schemas.microsoft.com/office/powerpoint/2010/main" val="974991385"/>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89687BE7-544D-4F8F-A2D7-DF4131DC76C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1.</a:t>
            </a:r>
            <a:r>
              <a:rPr lang="ja-JP" altLang="en-US"/>
              <a:t>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a:t>
            </a:r>
            <a:r>
              <a:rPr lang="ja-JP" altLang="en-US"/>
              <a:t>サマリ</a:t>
            </a:r>
            <a:endParaRPr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4150" cy="97600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の概要を以下の点含めて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目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将来的な事業化イメージ</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認識している）課題・解決方針</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内容</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endPar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実施場所</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実施体制</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活動スケジュール</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985CABA1-CBAC-4C98-86D0-2EEDC443D3F2}"/>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3</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 name="正方形/長方形 3">
            <a:extLst>
              <a:ext uri="{FF2B5EF4-FFF2-40B4-BE49-F238E27FC236}">
                <a16:creationId xmlns:a16="http://schemas.microsoft.com/office/drawing/2014/main" id="{E4129DF1-64EB-4B4D-9154-059F71A09081}"/>
              </a:ext>
            </a:extLst>
          </p:cNvPr>
          <p:cNvSpPr/>
          <p:nvPr/>
        </p:nvSpPr>
        <p:spPr bwMode="gray">
          <a:xfrm>
            <a:off x="415925" y="2767263"/>
            <a:ext cx="893496" cy="800702"/>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プロジェクト</a:t>
            </a:r>
            <a:br>
              <a:rPr kumimoji="1" lang="en-US" altLang="ja-JP" sz="1200" b="0" i="0" u="none" strike="noStrike" kern="1200" cap="none" spc="0" normalizeH="0" baseline="0" noProof="0">
                <a:ln>
                  <a:noFill/>
                </a:ln>
                <a:solidFill>
                  <a:prstClr val="black"/>
                </a:solidFill>
                <a:effectLst/>
                <a:uLnTx/>
                <a:uFillTx/>
                <a:latin typeface="+mn-lt"/>
                <a:ea typeface="+mn-ea"/>
                <a:cs typeface="+mn-cs"/>
              </a:rPr>
            </a:br>
            <a:r>
              <a:rPr kumimoji="1" lang="ja-JP" altLang="en-US" sz="1200" b="0" i="0" u="none" strike="noStrike" kern="1200" cap="none" spc="0" normalizeH="0" baseline="0" noProof="0">
                <a:ln>
                  <a:noFill/>
                </a:ln>
                <a:solidFill>
                  <a:prstClr val="black"/>
                </a:solidFill>
                <a:effectLst/>
                <a:uLnTx/>
                <a:uFillTx/>
                <a:latin typeface="+mn-lt"/>
                <a:ea typeface="+mn-ea"/>
                <a:cs typeface="+mn-cs"/>
              </a:rPr>
              <a:t>目的</a:t>
            </a:r>
          </a:p>
        </p:txBody>
      </p:sp>
      <p:sp>
        <p:nvSpPr>
          <p:cNvPr id="9" name="正方形/長方形 8">
            <a:extLst>
              <a:ext uri="{FF2B5EF4-FFF2-40B4-BE49-F238E27FC236}">
                <a16:creationId xmlns:a16="http://schemas.microsoft.com/office/drawing/2014/main" id="{0299C2F3-C0B2-4F12-A77C-5813761C479B}"/>
              </a:ext>
            </a:extLst>
          </p:cNvPr>
          <p:cNvSpPr/>
          <p:nvPr/>
        </p:nvSpPr>
        <p:spPr bwMode="gray">
          <a:xfrm>
            <a:off x="5132389" y="2767262"/>
            <a:ext cx="406766" cy="2084743"/>
          </a:xfrm>
          <a:prstGeom prst="rect">
            <a:avLst/>
          </a:prstGeom>
          <a:solidFill>
            <a:srgbClr val="BBBCBC"/>
          </a:solidFill>
          <a:ln w="12700" algn="ctr">
            <a:solidFill>
              <a:srgbClr val="BBBCBC"/>
            </a:solidFill>
            <a:miter lim="800000"/>
            <a:headEnd/>
            <a:tailEnd/>
          </a:ln>
        </p:spPr>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プロジェクト内容</a:t>
            </a:r>
          </a:p>
        </p:txBody>
      </p:sp>
      <p:sp>
        <p:nvSpPr>
          <p:cNvPr id="11" name="正方形/長方形 10">
            <a:extLst>
              <a:ext uri="{FF2B5EF4-FFF2-40B4-BE49-F238E27FC236}">
                <a16:creationId xmlns:a16="http://schemas.microsoft.com/office/drawing/2014/main" id="{04B0D1D8-A750-4919-8190-624E5618FE2C}"/>
              </a:ext>
            </a:extLst>
          </p:cNvPr>
          <p:cNvSpPr/>
          <p:nvPr/>
        </p:nvSpPr>
        <p:spPr bwMode="gray">
          <a:xfrm>
            <a:off x="5132387" y="5915272"/>
            <a:ext cx="1224522" cy="39345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活動スケジュール</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正方形/長方形 9">
            <a:extLst>
              <a:ext uri="{FF2B5EF4-FFF2-40B4-BE49-F238E27FC236}">
                <a16:creationId xmlns:a16="http://schemas.microsoft.com/office/drawing/2014/main" id="{9B8EAA3B-AAA0-43AC-85AE-8198D7539DDA}"/>
              </a:ext>
            </a:extLst>
          </p:cNvPr>
          <p:cNvSpPr/>
          <p:nvPr/>
        </p:nvSpPr>
        <p:spPr bwMode="gray">
          <a:xfrm>
            <a:off x="5132387" y="4944127"/>
            <a:ext cx="1224522" cy="39345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施</a:t>
            </a:r>
            <a:r>
              <a:rPr kumimoji="1" lang="ja-JP" altLang="en-US" sz="1200">
                <a:solidFill>
                  <a:prstClr val="black"/>
                </a:solidFill>
                <a:latin typeface="+mn-lt"/>
                <a:cs typeface="+mn-cs"/>
              </a:rPr>
              <a:t>場所</a:t>
            </a:r>
            <a:r>
              <a:rPr kumimoji="1" lang="en-US" altLang="ja-JP" sz="1200">
                <a:solidFill>
                  <a:prstClr val="black"/>
                </a:solidFill>
                <a:latin typeface="+mn-lt"/>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 name="正方形/長方形 11">
            <a:extLst>
              <a:ext uri="{FF2B5EF4-FFF2-40B4-BE49-F238E27FC236}">
                <a16:creationId xmlns:a16="http://schemas.microsoft.com/office/drawing/2014/main" id="{DC44F1B6-831F-4006-9978-2F746920069E}"/>
              </a:ext>
            </a:extLst>
          </p:cNvPr>
          <p:cNvSpPr/>
          <p:nvPr/>
        </p:nvSpPr>
        <p:spPr bwMode="gray">
          <a:xfrm>
            <a:off x="415925" y="3680850"/>
            <a:ext cx="893496" cy="800702"/>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市実装に向けたロードマップ</a:t>
            </a:r>
          </a:p>
        </p:txBody>
      </p:sp>
      <p:sp>
        <p:nvSpPr>
          <p:cNvPr id="13" name="正方形/長方形 12">
            <a:extLst>
              <a:ext uri="{FF2B5EF4-FFF2-40B4-BE49-F238E27FC236}">
                <a16:creationId xmlns:a16="http://schemas.microsoft.com/office/drawing/2014/main" id="{A0CEB9DE-83F8-4BC1-9354-6FC90A45DF68}"/>
              </a:ext>
            </a:extLst>
          </p:cNvPr>
          <p:cNvSpPr/>
          <p:nvPr/>
        </p:nvSpPr>
        <p:spPr bwMode="gray">
          <a:xfrm>
            <a:off x="415925" y="4594437"/>
            <a:ext cx="893496" cy="800702"/>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将来的な</a:t>
            </a:r>
            <a:br>
              <a:rPr kumimoji="1" lang="en-US" altLang="ja-JP" sz="1200">
                <a:solidFill>
                  <a:prstClr val="black"/>
                </a:solidFill>
                <a:latin typeface="+mn-lt"/>
                <a:cs typeface="+mn-cs"/>
              </a:rPr>
            </a:br>
            <a:r>
              <a:rPr kumimoji="1" lang="ja-JP" altLang="en-US" sz="1200">
                <a:solidFill>
                  <a:prstClr val="black"/>
                </a:solidFill>
                <a:latin typeface="+mn-lt"/>
                <a:cs typeface="+mn-cs"/>
              </a:rPr>
              <a:t>事業イメージ</a:t>
            </a:r>
            <a:endParaRPr kumimoji="1" lang="ja-JP" altLang="en-US" sz="1200" b="0" i="0" u="none" strike="noStrike" kern="1200" cap="none" spc="0" normalizeH="0" baseline="30000" noProof="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F1CDDAB5-D51D-4E11-A519-C5D13D74555F}"/>
              </a:ext>
            </a:extLst>
          </p:cNvPr>
          <p:cNvSpPr/>
          <p:nvPr/>
        </p:nvSpPr>
        <p:spPr bwMode="gray">
          <a:xfrm>
            <a:off x="1397570" y="2767263"/>
            <a:ext cx="3376043" cy="800702"/>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D355FED2-7319-41CD-8428-0A195DF6A70B}"/>
              </a:ext>
            </a:extLst>
          </p:cNvPr>
          <p:cNvSpPr/>
          <p:nvPr/>
        </p:nvSpPr>
        <p:spPr bwMode="gray">
          <a:xfrm>
            <a:off x="1397570" y="3680850"/>
            <a:ext cx="3376043" cy="800702"/>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35A552F1-4B46-4976-BAE4-FC051B5777F1}"/>
              </a:ext>
            </a:extLst>
          </p:cNvPr>
          <p:cNvSpPr/>
          <p:nvPr/>
        </p:nvSpPr>
        <p:spPr bwMode="gray">
          <a:xfrm>
            <a:off x="1397570" y="4594437"/>
            <a:ext cx="3376043" cy="800702"/>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6583F428-4CBF-49AF-B334-2ED2A2A0A226}"/>
              </a:ext>
            </a:extLst>
          </p:cNvPr>
          <p:cNvSpPr/>
          <p:nvPr/>
        </p:nvSpPr>
        <p:spPr bwMode="gray">
          <a:xfrm>
            <a:off x="5627078" y="2767263"/>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サービス</a:t>
            </a:r>
            <a:br>
              <a:rPr kumimoji="1" lang="en-US" altLang="ja-JP" sz="1200">
                <a:solidFill>
                  <a:prstClr val="black"/>
                </a:solidFill>
                <a:latin typeface="+mn-lt"/>
                <a:cs typeface="+mn-cs"/>
              </a:rPr>
            </a:br>
            <a:r>
              <a:rPr kumimoji="1" lang="ja-JP" altLang="en-US" sz="1200">
                <a:solidFill>
                  <a:prstClr val="black"/>
                </a:solidFill>
                <a:latin typeface="+mn-lt"/>
                <a:cs typeface="+mn-cs"/>
              </a:rPr>
              <a:t>内容</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CA861946-3D3D-4D39-AF1B-C68DB977378F}"/>
              </a:ext>
            </a:extLst>
          </p:cNvPr>
          <p:cNvSpPr/>
          <p:nvPr/>
        </p:nvSpPr>
        <p:spPr bwMode="gray">
          <a:xfrm>
            <a:off x="5627078" y="3311479"/>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KPI</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7D2B11C8-9723-4811-929C-98819E785A50}"/>
              </a:ext>
            </a:extLst>
          </p:cNvPr>
          <p:cNvSpPr/>
          <p:nvPr/>
        </p:nvSpPr>
        <p:spPr bwMode="gray">
          <a:xfrm>
            <a:off x="5627078" y="3855695"/>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実装・成果訴求への取組</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E05A6832-B94D-424A-8B94-99E7524B653B}"/>
              </a:ext>
            </a:extLst>
          </p:cNvPr>
          <p:cNvSpPr/>
          <p:nvPr/>
        </p:nvSpPr>
        <p:spPr bwMode="gray">
          <a:xfrm>
            <a:off x="5627078" y="4399911"/>
            <a:ext cx="729831" cy="45209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先進性・革新性</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B8DFB5B4-E1EA-4BE1-BAA4-2B0676CF3297}"/>
              </a:ext>
            </a:extLst>
          </p:cNvPr>
          <p:cNvSpPr/>
          <p:nvPr/>
        </p:nvSpPr>
        <p:spPr bwMode="gray">
          <a:xfrm>
            <a:off x="6444832" y="2767264"/>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E2AE73DB-6FE0-4B56-B0C9-28458EE9900D}"/>
              </a:ext>
            </a:extLst>
          </p:cNvPr>
          <p:cNvSpPr/>
          <p:nvPr/>
        </p:nvSpPr>
        <p:spPr bwMode="gray">
          <a:xfrm>
            <a:off x="6444832" y="5915272"/>
            <a:ext cx="3045243" cy="393453"/>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FB5C65AF-32A7-4C74-B928-02464FE6DD5F}"/>
              </a:ext>
            </a:extLst>
          </p:cNvPr>
          <p:cNvSpPr/>
          <p:nvPr/>
        </p:nvSpPr>
        <p:spPr bwMode="gray">
          <a:xfrm>
            <a:off x="6444832" y="4904929"/>
            <a:ext cx="3045243" cy="393453"/>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179C4AE6-744E-47F2-9752-74916FDFDED8}"/>
              </a:ext>
            </a:extLst>
          </p:cNvPr>
          <p:cNvSpPr/>
          <p:nvPr/>
        </p:nvSpPr>
        <p:spPr bwMode="gray">
          <a:xfrm>
            <a:off x="6444832" y="3302347"/>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DF737A2E-C979-4EA3-A8B3-43CE4292B35B}"/>
              </a:ext>
            </a:extLst>
          </p:cNvPr>
          <p:cNvSpPr/>
          <p:nvPr/>
        </p:nvSpPr>
        <p:spPr bwMode="gray">
          <a:xfrm>
            <a:off x="6444832" y="3837430"/>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299AE98C-78D3-44CB-B063-04C532F3ECBC}"/>
              </a:ext>
            </a:extLst>
          </p:cNvPr>
          <p:cNvSpPr/>
          <p:nvPr/>
        </p:nvSpPr>
        <p:spPr bwMode="gray">
          <a:xfrm>
            <a:off x="6444832" y="4372512"/>
            <a:ext cx="3045243" cy="45209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1AE1B8A7-6187-453D-822C-EAA8438EF9BE}"/>
              </a:ext>
            </a:extLst>
          </p:cNvPr>
          <p:cNvSpPr/>
          <p:nvPr/>
        </p:nvSpPr>
        <p:spPr bwMode="gray">
          <a:xfrm>
            <a:off x="1397570" y="5508023"/>
            <a:ext cx="3376043" cy="800702"/>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F9F2D95E-60DD-4DE1-8E6D-38E97A5184F3}"/>
              </a:ext>
            </a:extLst>
          </p:cNvPr>
          <p:cNvSpPr/>
          <p:nvPr/>
        </p:nvSpPr>
        <p:spPr bwMode="gray">
          <a:xfrm>
            <a:off x="415925" y="5508023"/>
            <a:ext cx="893496" cy="800702"/>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課題・解決方針</a:t>
            </a:r>
          </a:p>
        </p:txBody>
      </p:sp>
      <p:sp>
        <p:nvSpPr>
          <p:cNvPr id="29" name="正方形/長方形 28">
            <a:extLst>
              <a:ext uri="{FF2B5EF4-FFF2-40B4-BE49-F238E27FC236}">
                <a16:creationId xmlns:a16="http://schemas.microsoft.com/office/drawing/2014/main" id="{3488B8FC-EE46-483C-BA70-02342425BF75}"/>
              </a:ext>
            </a:extLst>
          </p:cNvPr>
          <p:cNvSpPr/>
          <p:nvPr/>
        </p:nvSpPr>
        <p:spPr>
          <a:xfrm>
            <a:off x="415925" y="6389047"/>
            <a:ext cx="9074150" cy="2037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spcBef>
                <a:spcPts val="396"/>
              </a:spcBef>
            </a:pPr>
            <a:r>
              <a:rPr kumimoji="1" lang="en-US" altLang="ja-JP"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プロジェクト内容のサービス内容・</a:t>
            </a:r>
            <a:r>
              <a:rPr kumimoji="1" lang="en-US" altLang="ja-JP"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KPI</a:t>
            </a:r>
            <a:r>
              <a:rPr kumimoji="1" lang="ja-JP" altLang="en-US"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と実施場所については個別プロジェクト単位で記載</a:t>
            </a:r>
            <a:endParaRPr kumimoji="1" lang="en-US" altLang="ja-JP" sz="100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30" name="正方形/長方形 29">
            <a:extLst>
              <a:ext uri="{FF2B5EF4-FFF2-40B4-BE49-F238E27FC236}">
                <a16:creationId xmlns:a16="http://schemas.microsoft.com/office/drawing/2014/main" id="{6671C931-FEBD-48CB-A464-F3D6EF88D920}"/>
              </a:ext>
            </a:extLst>
          </p:cNvPr>
          <p:cNvSpPr/>
          <p:nvPr/>
        </p:nvSpPr>
        <p:spPr bwMode="gray">
          <a:xfrm>
            <a:off x="5132387" y="5429701"/>
            <a:ext cx="1224522" cy="39345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施体制</a:t>
            </a:r>
          </a:p>
        </p:txBody>
      </p:sp>
      <p:sp>
        <p:nvSpPr>
          <p:cNvPr id="31" name="正方形/長方形 30">
            <a:extLst>
              <a:ext uri="{FF2B5EF4-FFF2-40B4-BE49-F238E27FC236}">
                <a16:creationId xmlns:a16="http://schemas.microsoft.com/office/drawing/2014/main" id="{18E8FD7B-A12C-4DFB-9DEB-E6217AAB6A39}"/>
              </a:ext>
            </a:extLst>
          </p:cNvPr>
          <p:cNvSpPr/>
          <p:nvPr/>
        </p:nvSpPr>
        <p:spPr bwMode="gray">
          <a:xfrm>
            <a:off x="6444832" y="5410101"/>
            <a:ext cx="3045243" cy="393453"/>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546843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9687BE7-544D-4F8F-A2D7-DF4131DC76CE}"/>
              </a:ext>
            </a:extLst>
          </p:cNvPr>
          <p:cNvGraphicFramePr>
            <a:graphicFrameLocks noChangeAspect="1"/>
          </p:cNvGraphicFramePr>
          <p:nvPr>
            <p:custDataLst>
              <p:tags r:id="rId1"/>
            </p:custDataLst>
            <p:extLst>
              <p:ext uri="{D42A27DB-BD31-4B8C-83A1-F6EECF244321}">
                <p14:modId xmlns:p14="http://schemas.microsoft.com/office/powerpoint/2010/main" val="3412771572"/>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89687BE7-544D-4F8F-A2D7-DF4131DC76CE}"/>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2. </a:t>
            </a:r>
            <a:r>
              <a:rPr lang="ja-JP" altLang="en-US">
                <a:latin typeface="Yu Gothic UI" panose="020B0500000000000000" pitchFamily="50" charset="-128"/>
                <a:ea typeface="Yu Gothic UI" panose="020B0500000000000000" pitchFamily="50" charset="-128"/>
                <a:sym typeface="Yu Gothic UI" panose="020B0500000000000000" pitchFamily="50" charset="-128"/>
              </a:rPr>
              <a:t>分科会プロジェクトの目的</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4150" cy="976001"/>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プロジェクトの目的・狙い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その際、西新宿エリアをフィールドとして、解決に貢献する社会課題とその貢献内容を記載ください。なお、前述の社会課題の例として、西新宿エリアの課題を参照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985CABA1-CBAC-4C98-86D0-2EEDC443D3F2}"/>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4</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7" name="正方形/長方形 6">
            <a:extLst>
              <a:ext uri="{FF2B5EF4-FFF2-40B4-BE49-F238E27FC236}">
                <a16:creationId xmlns:a16="http://schemas.microsoft.com/office/drawing/2014/main" id="{563B59AB-B8FE-4D9D-B59A-6843FC4EFA8A}"/>
              </a:ext>
            </a:extLst>
          </p:cNvPr>
          <p:cNvSpPr/>
          <p:nvPr/>
        </p:nvSpPr>
        <p:spPr bwMode="gray">
          <a:xfrm>
            <a:off x="415925" y="1732930"/>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プロジェクト</a:t>
            </a:r>
            <a:r>
              <a:rPr kumimoji="1" lang="ja-JP" altLang="en-US" sz="1400" b="1" i="0" u="none" strike="noStrike" kern="1200" cap="none" spc="0" normalizeH="0" baseline="0" noProof="0">
                <a:ln>
                  <a:noFill/>
                </a:ln>
                <a:solidFill>
                  <a:prstClr val="black"/>
                </a:solidFill>
                <a:effectLst/>
                <a:uLnTx/>
                <a:uFillTx/>
                <a:latin typeface="+mn-lt"/>
                <a:ea typeface="+mn-ea"/>
                <a:cs typeface="+mn-cs"/>
              </a:rPr>
              <a:t>目的・狙い</a:t>
            </a:r>
          </a:p>
        </p:txBody>
      </p:sp>
      <p:sp>
        <p:nvSpPr>
          <p:cNvPr id="9" name="正方形/長方形 8">
            <a:extLst>
              <a:ext uri="{FF2B5EF4-FFF2-40B4-BE49-F238E27FC236}">
                <a16:creationId xmlns:a16="http://schemas.microsoft.com/office/drawing/2014/main" id="{C9BDA9A6-6EE9-40B5-8E5C-A0CC7AAE4E70}"/>
              </a:ext>
            </a:extLst>
          </p:cNvPr>
          <p:cNvSpPr/>
          <p:nvPr/>
        </p:nvSpPr>
        <p:spPr bwMode="gray">
          <a:xfrm>
            <a:off x="415925" y="2192482"/>
            <a:ext cx="9072000" cy="1541189"/>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48" name="直線コネクタ 47">
            <a:extLst>
              <a:ext uri="{FF2B5EF4-FFF2-40B4-BE49-F238E27FC236}">
                <a16:creationId xmlns:a16="http://schemas.microsoft.com/office/drawing/2014/main" id="{AE442F83-1CED-4EF5-9A99-CCCA4C03FACA}"/>
              </a:ext>
            </a:extLst>
          </p:cNvPr>
          <p:cNvCxnSpPr>
            <a:cxnSpLocks/>
          </p:cNvCxnSpPr>
          <p:nvPr/>
        </p:nvCxnSpPr>
        <p:spPr bwMode="gray">
          <a:xfrm>
            <a:off x="415925" y="2092930"/>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61F34C26-F1E1-40EE-BCE4-40A2803EB6E4}"/>
              </a:ext>
            </a:extLst>
          </p:cNvPr>
          <p:cNvSpPr/>
          <p:nvPr/>
        </p:nvSpPr>
        <p:spPr bwMode="gray">
          <a:xfrm>
            <a:off x="415924" y="3841922"/>
            <a:ext cx="4347516"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解決に貢献</a:t>
            </a:r>
            <a:r>
              <a:rPr kumimoji="1" lang="ja-JP" altLang="en-US" sz="1400" b="1">
                <a:solidFill>
                  <a:prstClr val="black"/>
                </a:solidFill>
                <a:latin typeface="+mn-lt"/>
                <a:cs typeface="+mn-cs"/>
              </a:rPr>
              <a:t>する社会</a:t>
            </a:r>
            <a:r>
              <a:rPr kumimoji="1" lang="ja-JP" altLang="en-US" sz="1400" b="1" i="0" u="none" strike="noStrike" kern="1200" cap="none" spc="0" normalizeH="0" baseline="0" noProof="0">
                <a:ln>
                  <a:noFill/>
                </a:ln>
                <a:solidFill>
                  <a:prstClr val="black"/>
                </a:solidFill>
                <a:effectLst/>
                <a:uLnTx/>
                <a:uFillTx/>
                <a:latin typeface="+mn-lt"/>
                <a:ea typeface="+mn-ea"/>
                <a:cs typeface="+mn-cs"/>
              </a:rPr>
              <a:t>課題</a:t>
            </a:r>
          </a:p>
        </p:txBody>
      </p:sp>
      <p:sp>
        <p:nvSpPr>
          <p:cNvPr id="50" name="正方形/長方形 49">
            <a:extLst>
              <a:ext uri="{FF2B5EF4-FFF2-40B4-BE49-F238E27FC236}">
                <a16:creationId xmlns:a16="http://schemas.microsoft.com/office/drawing/2014/main" id="{9ECC5F4F-3F33-4362-884B-EBCBDE447546}"/>
              </a:ext>
            </a:extLst>
          </p:cNvPr>
          <p:cNvSpPr/>
          <p:nvPr/>
        </p:nvSpPr>
        <p:spPr bwMode="gray">
          <a:xfrm>
            <a:off x="415924" y="4301474"/>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51" name="直線コネクタ 50">
            <a:extLst>
              <a:ext uri="{FF2B5EF4-FFF2-40B4-BE49-F238E27FC236}">
                <a16:creationId xmlns:a16="http://schemas.microsoft.com/office/drawing/2014/main" id="{CCA65D02-1122-4D8A-BD8E-2654AEC3F553}"/>
              </a:ext>
            </a:extLst>
          </p:cNvPr>
          <p:cNvCxnSpPr>
            <a:cxnSpLocks/>
          </p:cNvCxnSpPr>
          <p:nvPr/>
        </p:nvCxnSpPr>
        <p:spPr bwMode="gray">
          <a:xfrm>
            <a:off x="415924" y="4201922"/>
            <a:ext cx="43475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49B3B679-CA02-4595-9E4C-73CDC50030F0}"/>
              </a:ext>
            </a:extLst>
          </p:cNvPr>
          <p:cNvSpPr/>
          <p:nvPr/>
        </p:nvSpPr>
        <p:spPr bwMode="gray">
          <a:xfrm>
            <a:off x="5140409" y="3841922"/>
            <a:ext cx="4347516"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貢献内容</a:t>
            </a:r>
          </a:p>
        </p:txBody>
      </p:sp>
      <p:sp>
        <p:nvSpPr>
          <p:cNvPr id="54" name="正方形/長方形 53">
            <a:extLst>
              <a:ext uri="{FF2B5EF4-FFF2-40B4-BE49-F238E27FC236}">
                <a16:creationId xmlns:a16="http://schemas.microsoft.com/office/drawing/2014/main" id="{02A7D9E5-F271-4B6E-A1F9-EF3D0578AF62}"/>
              </a:ext>
            </a:extLst>
          </p:cNvPr>
          <p:cNvSpPr/>
          <p:nvPr/>
        </p:nvSpPr>
        <p:spPr bwMode="gray">
          <a:xfrm>
            <a:off x="5140409" y="4301474"/>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55" name="直線コネクタ 54">
            <a:extLst>
              <a:ext uri="{FF2B5EF4-FFF2-40B4-BE49-F238E27FC236}">
                <a16:creationId xmlns:a16="http://schemas.microsoft.com/office/drawing/2014/main" id="{7144383E-D36D-423E-BC2C-C4D2B8E1D7BA}"/>
              </a:ext>
            </a:extLst>
          </p:cNvPr>
          <p:cNvCxnSpPr>
            <a:cxnSpLocks/>
          </p:cNvCxnSpPr>
          <p:nvPr/>
        </p:nvCxnSpPr>
        <p:spPr bwMode="gray">
          <a:xfrm>
            <a:off x="5140409" y="4201922"/>
            <a:ext cx="43475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正方形/長方形 56">
            <a:extLst>
              <a:ext uri="{FF2B5EF4-FFF2-40B4-BE49-F238E27FC236}">
                <a16:creationId xmlns:a16="http://schemas.microsoft.com/office/drawing/2014/main" id="{4C24059B-B670-4198-B18F-0F238E4711EC}"/>
              </a:ext>
            </a:extLst>
          </p:cNvPr>
          <p:cNvSpPr/>
          <p:nvPr/>
        </p:nvSpPr>
        <p:spPr bwMode="gray">
          <a:xfrm>
            <a:off x="415924" y="5075058"/>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58" name="正方形/長方形 57">
            <a:extLst>
              <a:ext uri="{FF2B5EF4-FFF2-40B4-BE49-F238E27FC236}">
                <a16:creationId xmlns:a16="http://schemas.microsoft.com/office/drawing/2014/main" id="{61973D6E-6E6B-44F9-8DC6-6AEB136C87B0}"/>
              </a:ext>
            </a:extLst>
          </p:cNvPr>
          <p:cNvSpPr/>
          <p:nvPr/>
        </p:nvSpPr>
        <p:spPr bwMode="gray">
          <a:xfrm>
            <a:off x="5140409" y="5075058"/>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59" name="正方形/長方形 58">
            <a:extLst>
              <a:ext uri="{FF2B5EF4-FFF2-40B4-BE49-F238E27FC236}">
                <a16:creationId xmlns:a16="http://schemas.microsoft.com/office/drawing/2014/main" id="{F7673BB2-B8AA-4332-A243-18333FD8431C}"/>
              </a:ext>
            </a:extLst>
          </p:cNvPr>
          <p:cNvSpPr/>
          <p:nvPr/>
        </p:nvSpPr>
        <p:spPr bwMode="gray">
          <a:xfrm>
            <a:off x="415924" y="5848642"/>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2DC35CFF-5938-4486-9011-417C7E622D9C}"/>
              </a:ext>
            </a:extLst>
          </p:cNvPr>
          <p:cNvSpPr/>
          <p:nvPr/>
        </p:nvSpPr>
        <p:spPr bwMode="gray">
          <a:xfrm>
            <a:off x="5140409" y="5848642"/>
            <a:ext cx="4347516" cy="69478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762000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3DCE3113-1AFE-47F3-8988-D40381D11595}"/>
              </a:ext>
            </a:extLst>
          </p:cNvPr>
          <p:cNvGraphicFramePr>
            <a:graphicFrameLocks noChangeAspect="1"/>
          </p:cNvGraphicFramePr>
          <p:nvPr>
            <p:custDataLst>
              <p:tags r:id="rId1"/>
            </p:custDataLst>
            <p:extLst>
              <p:ext uri="{D42A27DB-BD31-4B8C-83A1-F6EECF244321}">
                <p14:modId xmlns:p14="http://schemas.microsoft.com/office/powerpoint/2010/main" val="3110975585"/>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11" name="オブジェクト 10" hidden="1">
                        <a:extLst>
                          <a:ext uri="{FF2B5EF4-FFF2-40B4-BE49-F238E27FC236}">
                            <a16:creationId xmlns:a16="http://schemas.microsoft.com/office/drawing/2014/main" id="{3DCE3113-1AFE-47F3-8988-D40381D11595}"/>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t>3.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a:t>
            </a:r>
            <a:r>
              <a:rPr lang="ja-JP" altLang="en-US" b="1">
                <a:latin typeface="Yu Gothic UI" panose="020B0500000000000000" pitchFamily="50" charset="-128"/>
                <a:ea typeface="Yu Gothic UI" panose="020B0500000000000000" pitchFamily="50" charset="-128"/>
                <a:sym typeface="Yu Gothic UI" panose="020B0500000000000000" pitchFamily="50" charset="-128"/>
              </a:rPr>
              <a:t> </a:t>
            </a:r>
            <a:r>
              <a:rPr lang="en-US" altLang="ja-JP" b="1">
                <a:latin typeface="Yu Gothic UI" panose="020B0500000000000000" pitchFamily="50" charset="-128"/>
                <a:ea typeface="Yu Gothic UI" panose="020B0500000000000000" pitchFamily="50" charset="-128"/>
                <a:sym typeface="Yu Gothic UI" panose="020B0500000000000000" pitchFamily="50" charset="-128"/>
              </a:rPr>
              <a:t>/</a:t>
            </a:r>
            <a:r>
              <a:rPr lang="ja-JP" altLang="en-US" b="1">
                <a:latin typeface="Yu Gothic UI" panose="020B0500000000000000" pitchFamily="50" charset="-128"/>
                <a:ea typeface="Yu Gothic UI" panose="020B0500000000000000" pitchFamily="50" charset="-128"/>
                <a:sym typeface="Yu Gothic UI" panose="020B0500000000000000" pitchFamily="50" charset="-128"/>
              </a:rPr>
              <a:t> </a:t>
            </a:r>
            <a:r>
              <a:rPr lang="ja-JP" altLang="en-US">
                <a:latin typeface="Yu Gothic UI" panose="020B0500000000000000" pitchFamily="50" charset="-128"/>
                <a:ea typeface="Yu Gothic UI" panose="020B0500000000000000" pitchFamily="50" charset="-128"/>
                <a:sym typeface="Yu Gothic UI" panose="020B0500000000000000" pitchFamily="50" charset="-128"/>
              </a:rPr>
              <a:t>将来的な事業化イメージ</a:t>
            </a:r>
          </a:p>
        </p:txBody>
      </p:sp>
      <p:sp>
        <p:nvSpPr>
          <p:cNvPr id="74" name="正方形/長方形 73">
            <a:extLst>
              <a:ext uri="{FF2B5EF4-FFF2-40B4-BE49-F238E27FC236}">
                <a16:creationId xmlns:a16="http://schemas.microsoft.com/office/drawing/2014/main" id="{A107C216-38BF-4FFC-90D4-F96D5C58698B}"/>
              </a:ext>
            </a:extLst>
          </p:cNvPr>
          <p:cNvSpPr/>
          <p:nvPr/>
        </p:nvSpPr>
        <p:spPr>
          <a:xfrm>
            <a:off x="415925" y="864365"/>
            <a:ext cx="9072000" cy="34108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下記記載例を参考に、</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の実装イメージと都市実装における将来像を</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活動単位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1" name="正方形/長方形 40">
            <a:extLst>
              <a:ext uri="{FF2B5EF4-FFF2-40B4-BE49-F238E27FC236}">
                <a16:creationId xmlns:a16="http://schemas.microsoft.com/office/drawing/2014/main" id="{5B107F7F-5F8E-4571-B3A0-0181EA470878}"/>
              </a:ext>
            </a:extLst>
          </p:cNvPr>
          <p:cNvSpPr/>
          <p:nvPr/>
        </p:nvSpPr>
        <p:spPr>
          <a:xfrm>
            <a:off x="415925" y="612167"/>
            <a:ext cx="8374153"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a:t>
            </a:r>
          </a:p>
        </p:txBody>
      </p:sp>
      <p:sp>
        <p:nvSpPr>
          <p:cNvPr id="15" name="スライド番号プレースホルダー 3">
            <a:extLst>
              <a:ext uri="{FF2B5EF4-FFF2-40B4-BE49-F238E27FC236}">
                <a16:creationId xmlns:a16="http://schemas.microsoft.com/office/drawing/2014/main" id="{E23DA151-5AF2-4871-87C5-7E5F5426AC3C}"/>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5</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191" name="矢印: 五方向 190">
            <a:extLst>
              <a:ext uri="{FF2B5EF4-FFF2-40B4-BE49-F238E27FC236}">
                <a16:creationId xmlns:a16="http://schemas.microsoft.com/office/drawing/2014/main" id="{FA0183A3-AA37-44AB-9A0E-8E21A0FAAE0F}"/>
              </a:ext>
            </a:extLst>
          </p:cNvPr>
          <p:cNvSpPr/>
          <p:nvPr/>
        </p:nvSpPr>
        <p:spPr>
          <a:xfrm>
            <a:off x="4014470" y="2038718"/>
            <a:ext cx="2718431" cy="233969"/>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a:solidFill>
                  <a:schemeClr val="bg1"/>
                </a:solidFill>
                <a:latin typeface="Yu Gothic UI" panose="020B0500000000000000" pitchFamily="50" charset="-128"/>
                <a:ea typeface="Yu Gothic UI" panose="020B0500000000000000" pitchFamily="50" charset="-128"/>
              </a:rPr>
              <a:t>2024</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sp>
        <p:nvSpPr>
          <p:cNvPr id="192" name="矢印: 五方向 191">
            <a:extLst>
              <a:ext uri="{FF2B5EF4-FFF2-40B4-BE49-F238E27FC236}">
                <a16:creationId xmlns:a16="http://schemas.microsoft.com/office/drawing/2014/main" id="{9FE8701A-3DA3-46C6-BA2F-54928CDB5363}"/>
              </a:ext>
            </a:extLst>
          </p:cNvPr>
          <p:cNvSpPr/>
          <p:nvPr/>
        </p:nvSpPr>
        <p:spPr>
          <a:xfrm>
            <a:off x="6771641" y="2038718"/>
            <a:ext cx="2718431" cy="233969"/>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b="1">
                <a:solidFill>
                  <a:schemeClr val="bg1"/>
                </a:solidFill>
                <a:latin typeface="Yu Gothic UI" panose="020B0500000000000000" pitchFamily="50" charset="-128"/>
                <a:ea typeface="Yu Gothic UI" panose="020B0500000000000000" pitchFamily="50" charset="-128"/>
              </a:rPr>
              <a:t>都市実装（</a:t>
            </a:r>
            <a:r>
              <a:rPr kumimoji="1" lang="en-US" altLang="ja-JP" sz="1100" b="1">
                <a:solidFill>
                  <a:schemeClr val="bg1"/>
                </a:solidFill>
                <a:latin typeface="Yu Gothic UI" panose="020B0500000000000000" pitchFamily="50" charset="-128"/>
                <a:ea typeface="Yu Gothic UI" panose="020B0500000000000000" pitchFamily="50" charset="-128"/>
              </a:rPr>
              <a:t>To-Be</a:t>
            </a:r>
            <a:r>
              <a:rPr kumimoji="1" lang="ja-JP" altLang="en-US" sz="1100" b="1">
                <a:solidFill>
                  <a:schemeClr val="bg1"/>
                </a:solidFill>
                <a:latin typeface="Yu Gothic UI" panose="020B0500000000000000" pitchFamily="50" charset="-128"/>
                <a:ea typeface="Yu Gothic UI" panose="020B0500000000000000" pitchFamily="50" charset="-128"/>
              </a:rPr>
              <a:t>）</a:t>
            </a:r>
          </a:p>
        </p:txBody>
      </p:sp>
      <p:sp>
        <p:nvSpPr>
          <p:cNvPr id="193" name="矢印: 五方向 192">
            <a:extLst>
              <a:ext uri="{FF2B5EF4-FFF2-40B4-BE49-F238E27FC236}">
                <a16:creationId xmlns:a16="http://schemas.microsoft.com/office/drawing/2014/main" id="{373CD2B5-3170-4540-B61A-90F8E8B48075}"/>
              </a:ext>
            </a:extLst>
          </p:cNvPr>
          <p:cNvSpPr/>
          <p:nvPr/>
        </p:nvSpPr>
        <p:spPr>
          <a:xfrm>
            <a:off x="1257299" y="2038718"/>
            <a:ext cx="2718431" cy="233969"/>
          </a:xfrm>
          <a:prstGeom prst="homePlate">
            <a:avLst>
              <a:gd name="adj" fmla="val 3053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100" b="1">
                <a:solidFill>
                  <a:schemeClr val="bg1"/>
                </a:solidFill>
                <a:latin typeface="Yu Gothic UI" panose="020B0500000000000000" pitchFamily="50" charset="-128"/>
                <a:ea typeface="Yu Gothic UI" panose="020B0500000000000000" pitchFamily="50" charset="-128"/>
              </a:rPr>
              <a:t>2023</a:t>
            </a:r>
            <a:r>
              <a:rPr kumimoji="1" lang="ja-JP" altLang="en-US" sz="1100" b="1">
                <a:solidFill>
                  <a:schemeClr val="bg1"/>
                </a:solidFill>
                <a:latin typeface="Yu Gothic UI" panose="020B0500000000000000" pitchFamily="50" charset="-128"/>
                <a:ea typeface="Yu Gothic UI" panose="020B0500000000000000" pitchFamily="50" charset="-128"/>
              </a:rPr>
              <a:t>年度</a:t>
            </a:r>
          </a:p>
        </p:txBody>
      </p:sp>
      <p:sp>
        <p:nvSpPr>
          <p:cNvPr id="201" name="楕円 200">
            <a:extLst>
              <a:ext uri="{FF2B5EF4-FFF2-40B4-BE49-F238E27FC236}">
                <a16:creationId xmlns:a16="http://schemas.microsoft.com/office/drawing/2014/main" id="{A21BC1B0-1BF2-499B-B3DB-855E06C5130B}"/>
              </a:ext>
            </a:extLst>
          </p:cNvPr>
          <p:cNvSpPr/>
          <p:nvPr/>
        </p:nvSpPr>
        <p:spPr bwMode="gray">
          <a:xfrm>
            <a:off x="595905" y="1387587"/>
            <a:ext cx="897241" cy="504714"/>
          </a:xfrm>
          <a:prstGeom prst="ellipse">
            <a:avLst/>
          </a:prstGeom>
          <a:solidFill>
            <a:srgbClr val="6FC2B4"/>
          </a:solid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a:ln>
                  <a:noFill/>
                </a:ln>
                <a:effectLst/>
                <a:uLnTx/>
                <a:uFillTx/>
                <a:latin typeface="Calibri Light"/>
                <a:ea typeface="Yu Gothic UI"/>
                <a:cs typeface="Arial" charset="0"/>
              </a:rPr>
              <a:t>西新宿での</a:t>
            </a:r>
            <a:endParaRPr kumimoji="1" lang="en-US" altLang="ja-JP" sz="1200" b="1" i="0" u="none" strike="noStrike" kern="1200" cap="none" spc="0" normalizeH="0" baseline="0" noProof="0">
              <a:ln>
                <a:noFill/>
              </a:ln>
              <a:effectLst/>
              <a:uLnTx/>
              <a:uFillTx/>
              <a:latin typeface="Calibri Light"/>
              <a:ea typeface="Yu Gothic UI"/>
              <a:cs typeface="Arial" charset="0"/>
            </a:endParaRPr>
          </a:p>
          <a:p>
            <a:pPr marL="0" marR="0" lvl="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1" i="0" u="none" strike="noStrike" kern="1200" cap="none" spc="0" normalizeH="0" baseline="0" noProof="0">
                <a:ln>
                  <a:noFill/>
                </a:ln>
                <a:effectLst/>
                <a:uLnTx/>
                <a:uFillTx/>
                <a:latin typeface="Calibri Light"/>
                <a:ea typeface="Yu Gothic UI"/>
                <a:cs typeface="Arial" charset="0"/>
              </a:rPr>
              <a:t>都市実装</a:t>
            </a:r>
          </a:p>
        </p:txBody>
      </p:sp>
      <p:sp>
        <p:nvSpPr>
          <p:cNvPr id="202" name="正方形/長方形 201">
            <a:extLst>
              <a:ext uri="{FF2B5EF4-FFF2-40B4-BE49-F238E27FC236}">
                <a16:creationId xmlns:a16="http://schemas.microsoft.com/office/drawing/2014/main" id="{603A52D3-EEED-4983-BED6-4BCA33642721}"/>
              </a:ext>
            </a:extLst>
          </p:cNvPr>
          <p:cNvSpPr/>
          <p:nvPr/>
        </p:nvSpPr>
        <p:spPr bwMode="gray">
          <a:xfrm>
            <a:off x="1588585" y="1407326"/>
            <a:ext cx="7481936" cy="252966"/>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rPr>
              <a:t>西新宿エリアで定期的・定常的にサービスが実施され、都民の多くが生活の中で体験し、事業</a:t>
            </a:r>
            <a:r>
              <a:rPr kumimoji="1" lang="ja-JP" altLang="en-US" sz="1200">
                <a:solidFill>
                  <a:prstClr val="black"/>
                </a:solidFill>
                <a:latin typeface="Calibri Light"/>
                <a:ea typeface="Yu Gothic UI"/>
              </a:rPr>
              <a:t>成立の蓋然性が高い状態</a:t>
            </a:r>
            <a:endParaRPr kumimoji="1" lang="ja-JP" altLang="en-US" sz="1200" b="0" i="0" u="none" strike="noStrike" kern="1200" cap="none" spc="0" normalizeH="0" baseline="0" noProof="0">
              <a:ln>
                <a:noFill/>
              </a:ln>
              <a:solidFill>
                <a:prstClr val="black"/>
              </a:solidFill>
              <a:effectLst/>
              <a:uLnTx/>
              <a:uFillTx/>
              <a:latin typeface="Calibri Light"/>
              <a:ea typeface="Yu Gothic UI"/>
              <a:cs typeface="Arial" charset="0"/>
            </a:endParaRPr>
          </a:p>
        </p:txBody>
      </p:sp>
      <p:cxnSp>
        <p:nvCxnSpPr>
          <p:cNvPr id="203" name="直線矢印コネクタ 202">
            <a:extLst>
              <a:ext uri="{FF2B5EF4-FFF2-40B4-BE49-F238E27FC236}">
                <a16:creationId xmlns:a16="http://schemas.microsoft.com/office/drawing/2014/main" id="{5B987A54-5891-4A41-BE37-33351555004C}"/>
              </a:ext>
            </a:extLst>
          </p:cNvPr>
          <p:cNvCxnSpPr>
            <a:cxnSpLocks/>
          </p:cNvCxnSpPr>
          <p:nvPr/>
        </p:nvCxnSpPr>
        <p:spPr bwMode="gray">
          <a:xfrm>
            <a:off x="1609775" y="1660292"/>
            <a:ext cx="765686"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4" name="直線矢印コネクタ 203">
            <a:extLst>
              <a:ext uri="{FF2B5EF4-FFF2-40B4-BE49-F238E27FC236}">
                <a16:creationId xmlns:a16="http://schemas.microsoft.com/office/drawing/2014/main" id="{1D4D4778-6FD0-49A2-8F5F-9B4C5F80704E}"/>
              </a:ext>
            </a:extLst>
          </p:cNvPr>
          <p:cNvCxnSpPr>
            <a:cxnSpLocks/>
          </p:cNvCxnSpPr>
          <p:nvPr/>
        </p:nvCxnSpPr>
        <p:spPr bwMode="gray">
          <a:xfrm>
            <a:off x="2568434" y="1660292"/>
            <a:ext cx="890954"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5" name="直線矢印コネクタ 204">
            <a:extLst>
              <a:ext uri="{FF2B5EF4-FFF2-40B4-BE49-F238E27FC236}">
                <a16:creationId xmlns:a16="http://schemas.microsoft.com/office/drawing/2014/main" id="{F9309AA3-A52F-462E-BB36-A300E1C6C4FC}"/>
              </a:ext>
            </a:extLst>
          </p:cNvPr>
          <p:cNvCxnSpPr>
            <a:cxnSpLocks/>
          </p:cNvCxnSpPr>
          <p:nvPr/>
        </p:nvCxnSpPr>
        <p:spPr bwMode="gray">
          <a:xfrm>
            <a:off x="3759574" y="1660292"/>
            <a:ext cx="917638"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直線矢印コネクタ 205">
            <a:extLst>
              <a:ext uri="{FF2B5EF4-FFF2-40B4-BE49-F238E27FC236}">
                <a16:creationId xmlns:a16="http://schemas.microsoft.com/office/drawing/2014/main" id="{E4EBFC6C-9B02-4F67-BB20-88630DB63B62}"/>
              </a:ext>
            </a:extLst>
          </p:cNvPr>
          <p:cNvCxnSpPr>
            <a:cxnSpLocks/>
          </p:cNvCxnSpPr>
          <p:nvPr/>
        </p:nvCxnSpPr>
        <p:spPr bwMode="gray">
          <a:xfrm>
            <a:off x="4865048" y="1660292"/>
            <a:ext cx="1934936"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7" name="直線矢印コネクタ 206">
            <a:extLst>
              <a:ext uri="{FF2B5EF4-FFF2-40B4-BE49-F238E27FC236}">
                <a16:creationId xmlns:a16="http://schemas.microsoft.com/office/drawing/2014/main" id="{3ADC6A1A-D08D-4D8C-A967-AB05C7F7D7CF}"/>
              </a:ext>
            </a:extLst>
          </p:cNvPr>
          <p:cNvCxnSpPr>
            <a:cxnSpLocks/>
          </p:cNvCxnSpPr>
          <p:nvPr/>
        </p:nvCxnSpPr>
        <p:spPr bwMode="gray">
          <a:xfrm>
            <a:off x="6904345" y="1660292"/>
            <a:ext cx="1875809"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09" name="テキスト ボックス 208">
            <a:extLst>
              <a:ext uri="{FF2B5EF4-FFF2-40B4-BE49-F238E27FC236}">
                <a16:creationId xmlns:a16="http://schemas.microsoft.com/office/drawing/2014/main" id="{A22FC74C-6E38-4709-BA1E-7191E41B98D1}"/>
              </a:ext>
            </a:extLst>
          </p:cNvPr>
          <p:cNvSpPr txBox="1"/>
          <p:nvPr/>
        </p:nvSpPr>
        <p:spPr bwMode="gray">
          <a:xfrm>
            <a:off x="1680344"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er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1" name="テキスト ボックス 210">
            <a:extLst>
              <a:ext uri="{FF2B5EF4-FFF2-40B4-BE49-F238E27FC236}">
                <a16:creationId xmlns:a16="http://schemas.microsoft.com/office/drawing/2014/main" id="{DB1FE66B-519C-4DB8-AEE0-5343D3DBB579}"/>
              </a:ext>
            </a:extLst>
          </p:cNvPr>
          <p:cNvSpPr txBox="1"/>
          <p:nvPr/>
        </p:nvSpPr>
        <p:spPr bwMode="gray">
          <a:xfrm>
            <a:off x="2701637"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e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3" name="テキスト ボックス 212">
            <a:extLst>
              <a:ext uri="{FF2B5EF4-FFF2-40B4-BE49-F238E27FC236}">
                <a16:creationId xmlns:a16="http://schemas.microsoft.com/office/drawing/2014/main" id="{4D2EC2E7-ED30-4484-87FF-945921BD7A6D}"/>
              </a:ext>
            </a:extLst>
          </p:cNvPr>
          <p:cNvSpPr txBox="1"/>
          <p:nvPr/>
        </p:nvSpPr>
        <p:spPr bwMode="gray">
          <a:xfrm>
            <a:off x="3906119"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5" name="テキスト ボックス 214">
            <a:extLst>
              <a:ext uri="{FF2B5EF4-FFF2-40B4-BE49-F238E27FC236}">
                <a16:creationId xmlns:a16="http://schemas.microsoft.com/office/drawing/2014/main" id="{527A6887-3D33-4FDD-A1E8-04B42E553D65}"/>
              </a:ext>
            </a:extLst>
          </p:cNvPr>
          <p:cNvSpPr txBox="1"/>
          <p:nvPr/>
        </p:nvSpPr>
        <p:spPr bwMode="gray">
          <a:xfrm>
            <a:off x="5520242" y="1697803"/>
            <a:ext cx="624548"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o</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7" name="テキスト ボックス 216">
            <a:extLst>
              <a:ext uri="{FF2B5EF4-FFF2-40B4-BE49-F238E27FC236}">
                <a16:creationId xmlns:a16="http://schemas.microsoft.com/office/drawing/2014/main" id="{F3552857-B699-4252-A8E1-4704F99A5FBC}"/>
              </a:ext>
            </a:extLst>
          </p:cNvPr>
          <p:cNvSpPr txBox="1"/>
          <p:nvPr/>
        </p:nvSpPr>
        <p:spPr bwMode="gray">
          <a:xfrm>
            <a:off x="7385049" y="1697803"/>
            <a:ext cx="914400" cy="184666"/>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How much</a:t>
            </a:r>
          </a:p>
        </p:txBody>
      </p:sp>
      <p:grpSp>
        <p:nvGrpSpPr>
          <p:cNvPr id="223" name="グループ化 222">
            <a:extLst>
              <a:ext uri="{FF2B5EF4-FFF2-40B4-BE49-F238E27FC236}">
                <a16:creationId xmlns:a16="http://schemas.microsoft.com/office/drawing/2014/main" id="{6CFCCB6D-81ED-4007-AE5E-EDDDF3608206}"/>
              </a:ext>
            </a:extLst>
          </p:cNvPr>
          <p:cNvGrpSpPr/>
          <p:nvPr/>
        </p:nvGrpSpPr>
        <p:grpSpPr>
          <a:xfrm>
            <a:off x="415925" y="2337314"/>
            <a:ext cx="743404" cy="3985476"/>
            <a:chOff x="342899" y="2612174"/>
            <a:chExt cx="816430" cy="4539548"/>
          </a:xfrm>
        </p:grpSpPr>
        <p:sp>
          <p:nvSpPr>
            <p:cNvPr id="224" name="正方形/長方形 223">
              <a:extLst>
                <a:ext uri="{FF2B5EF4-FFF2-40B4-BE49-F238E27FC236}">
                  <a16:creationId xmlns:a16="http://schemas.microsoft.com/office/drawing/2014/main" id="{F68E402F-1F6B-4BBE-8027-059C727569D3}"/>
                </a:ext>
              </a:extLst>
            </p:cNvPr>
            <p:cNvSpPr/>
            <p:nvPr/>
          </p:nvSpPr>
          <p:spPr bwMode="gray">
            <a:xfrm>
              <a:off x="342899" y="2612174"/>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Where</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5" name="正方形/長方形 224">
              <a:extLst>
                <a:ext uri="{FF2B5EF4-FFF2-40B4-BE49-F238E27FC236}">
                  <a16:creationId xmlns:a16="http://schemas.microsoft.com/office/drawing/2014/main" id="{278E1CD0-C4D7-4E92-8731-CD6FDC657DEC}"/>
                </a:ext>
              </a:extLst>
            </p:cNvPr>
            <p:cNvSpPr/>
            <p:nvPr/>
          </p:nvSpPr>
          <p:spPr bwMode="gray">
            <a:xfrm>
              <a:off x="342899" y="3539062"/>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e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6" name="正方形/長方形 225">
              <a:extLst>
                <a:ext uri="{FF2B5EF4-FFF2-40B4-BE49-F238E27FC236}">
                  <a16:creationId xmlns:a16="http://schemas.microsoft.com/office/drawing/2014/main" id="{3352E9DB-8AC2-44E1-9C4E-08FB2C12E187}"/>
                </a:ext>
              </a:extLst>
            </p:cNvPr>
            <p:cNvSpPr/>
            <p:nvPr/>
          </p:nvSpPr>
          <p:spPr bwMode="gray">
            <a:xfrm>
              <a:off x="342899" y="4465951"/>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7" name="正方形/長方形 226">
              <a:extLst>
                <a:ext uri="{FF2B5EF4-FFF2-40B4-BE49-F238E27FC236}">
                  <a16:creationId xmlns:a16="http://schemas.microsoft.com/office/drawing/2014/main" id="{9E5D40B1-9552-4575-9670-FB8CACB6CB9E}"/>
                </a:ext>
              </a:extLst>
            </p:cNvPr>
            <p:cNvSpPr/>
            <p:nvPr/>
          </p:nvSpPr>
          <p:spPr bwMode="gray">
            <a:xfrm>
              <a:off x="342899" y="5392840"/>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a:ln>
                    <a:noFill/>
                  </a:ln>
                  <a:solidFill>
                    <a:prstClr val="black"/>
                  </a:solidFill>
                  <a:effectLst/>
                  <a:uLnTx/>
                  <a:uFillTx/>
                  <a:latin typeface="+mn-lt"/>
                  <a:ea typeface="+mn-ea"/>
                  <a:cs typeface="+mn-cs"/>
                </a:rPr>
                <a:t>Who</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8" name="正方形/長方形 227">
              <a:extLst>
                <a:ext uri="{FF2B5EF4-FFF2-40B4-BE49-F238E27FC236}">
                  <a16:creationId xmlns:a16="http://schemas.microsoft.com/office/drawing/2014/main" id="{24F0A337-E7C4-440D-8554-67012730C952}"/>
                </a:ext>
              </a:extLst>
            </p:cNvPr>
            <p:cNvSpPr/>
            <p:nvPr/>
          </p:nvSpPr>
          <p:spPr bwMode="gray">
            <a:xfrm>
              <a:off x="342899" y="6319729"/>
              <a:ext cx="816430" cy="83199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a:solidFill>
                    <a:prstClr val="black"/>
                  </a:solidFill>
                  <a:latin typeface="+mn-lt"/>
                  <a:cs typeface="+mn-cs"/>
                </a:rPr>
                <a:t>How much</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229" name="正方形/長方形 228">
            <a:extLst>
              <a:ext uri="{FF2B5EF4-FFF2-40B4-BE49-F238E27FC236}">
                <a16:creationId xmlns:a16="http://schemas.microsoft.com/office/drawing/2014/main" id="{8CC325E7-6CB7-4D5C-8C74-0E3020A3F69A}"/>
              </a:ext>
            </a:extLst>
          </p:cNvPr>
          <p:cNvSpPr/>
          <p:nvPr/>
        </p:nvSpPr>
        <p:spPr bwMode="gray">
          <a:xfrm>
            <a:off x="1257298" y="2337314"/>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エリアの</a:t>
            </a:r>
            <a:r>
              <a:rPr kumimoji="1" lang="en-US" altLang="ja-JP" sz="1200">
                <a:solidFill>
                  <a:prstClr val="black"/>
                </a:solidFill>
                <a:latin typeface="+mn-lt"/>
                <a:cs typeface="+mn-cs"/>
              </a:rPr>
              <a:t>2</a:t>
            </a:r>
            <a:r>
              <a:rPr kumimoji="1" lang="ja-JP" altLang="en-US" sz="1200">
                <a:solidFill>
                  <a:prstClr val="black"/>
                </a:solidFill>
                <a:latin typeface="+mn-lt"/>
                <a:cs typeface="+mn-cs"/>
              </a:rPr>
              <a:t>つのスポットから</a:t>
            </a:r>
            <a:r>
              <a:rPr kumimoji="1" lang="en-US" altLang="ja-JP" sz="1200">
                <a:solidFill>
                  <a:prstClr val="black"/>
                </a:solidFill>
                <a:latin typeface="+mn-lt"/>
                <a:cs typeface="+mn-cs"/>
              </a:rPr>
              <a:t>2</a:t>
            </a:r>
            <a:r>
              <a:rPr kumimoji="1" lang="ja-JP" altLang="en-US" sz="1200">
                <a:solidFill>
                  <a:prstClr val="black"/>
                </a:solidFill>
                <a:latin typeface="+mn-lt"/>
                <a:cs typeface="+mn-cs"/>
              </a:rPr>
              <a:t>つのスポット</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0" name="正方形/長方形 229">
            <a:extLst>
              <a:ext uri="{FF2B5EF4-FFF2-40B4-BE49-F238E27FC236}">
                <a16:creationId xmlns:a16="http://schemas.microsoft.com/office/drawing/2014/main" id="{FEBC075A-E44D-4F75-9BB0-08A3D33C0CF3}"/>
              </a:ext>
            </a:extLst>
          </p:cNvPr>
          <p:cNvSpPr/>
          <p:nvPr/>
        </p:nvSpPr>
        <p:spPr bwMode="gray">
          <a:xfrm>
            <a:off x="1257298" y="3151071"/>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一定期間の内数日</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雨の日は実施不可</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1" name="正方形/長方形 230">
            <a:extLst>
              <a:ext uri="{FF2B5EF4-FFF2-40B4-BE49-F238E27FC236}">
                <a16:creationId xmlns:a16="http://schemas.microsoft.com/office/drawing/2014/main" id="{4DECFA8C-907D-4FF6-BF1F-6B778580D91B}"/>
              </a:ext>
            </a:extLst>
          </p:cNvPr>
          <p:cNvSpPr/>
          <p:nvPr/>
        </p:nvSpPr>
        <p:spPr bwMode="gray">
          <a:xfrm>
            <a:off x="1257298" y="3964829"/>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フードデリバリー</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ビルの下まで降りてくる必要あり</a:t>
            </a:r>
          </a:p>
        </p:txBody>
      </p:sp>
      <p:sp>
        <p:nvSpPr>
          <p:cNvPr id="232" name="正方形/長方形 231">
            <a:extLst>
              <a:ext uri="{FF2B5EF4-FFF2-40B4-BE49-F238E27FC236}">
                <a16:creationId xmlns:a16="http://schemas.microsoft.com/office/drawing/2014/main" id="{35073290-1F69-4AAF-B5BD-278127E36A38}"/>
              </a:ext>
            </a:extLst>
          </p:cNvPr>
          <p:cNvSpPr/>
          <p:nvPr/>
        </p:nvSpPr>
        <p:spPr bwMode="gray">
          <a:xfrm>
            <a:off x="1257298" y="4778587"/>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西新宿内</a:t>
            </a:r>
            <a:r>
              <a:rPr kumimoji="1" lang="ja-JP" altLang="en-US" sz="1200" b="0" i="0" u="none" strike="noStrike" kern="1200" cap="none" spc="0" normalizeH="0" baseline="0" noProof="0">
                <a:ln>
                  <a:noFill/>
                </a:ln>
                <a:solidFill>
                  <a:prstClr val="black"/>
                </a:solidFill>
                <a:effectLst/>
                <a:uLnTx/>
                <a:uFillTx/>
                <a:latin typeface="+mn-lt"/>
                <a:ea typeface="+mn-ea"/>
                <a:cs typeface="+mn-cs"/>
              </a:rPr>
              <a:t>一部の都民・関係者へ提供</a:t>
            </a:r>
          </a:p>
        </p:txBody>
      </p:sp>
      <p:sp>
        <p:nvSpPr>
          <p:cNvPr id="233" name="正方形/長方形 232">
            <a:extLst>
              <a:ext uri="{FF2B5EF4-FFF2-40B4-BE49-F238E27FC236}">
                <a16:creationId xmlns:a16="http://schemas.microsoft.com/office/drawing/2014/main" id="{1B3A1943-FAD6-4266-80AA-238429D5F60A}"/>
              </a:ext>
            </a:extLst>
          </p:cNvPr>
          <p:cNvSpPr/>
          <p:nvPr/>
        </p:nvSpPr>
        <p:spPr bwMode="gray">
          <a:xfrm>
            <a:off x="1257298" y="5592345"/>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民が飲食物の代金のみを支払う</a:t>
            </a:r>
          </a:p>
        </p:txBody>
      </p:sp>
      <p:sp>
        <p:nvSpPr>
          <p:cNvPr id="234" name="正方形/長方形 233">
            <a:extLst>
              <a:ext uri="{FF2B5EF4-FFF2-40B4-BE49-F238E27FC236}">
                <a16:creationId xmlns:a16="http://schemas.microsoft.com/office/drawing/2014/main" id="{03C4317A-5AE6-451C-9BA4-0137C6319FDE}"/>
              </a:ext>
            </a:extLst>
          </p:cNvPr>
          <p:cNvSpPr/>
          <p:nvPr/>
        </p:nvSpPr>
        <p:spPr bwMode="gray">
          <a:xfrm>
            <a:off x="4014470" y="2337314"/>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a:t>
            </a:r>
            <a:r>
              <a:rPr kumimoji="1" lang="en-US" altLang="ja-JP" sz="1200" b="0" i="0" u="none" strike="noStrike" kern="1200" cap="none" spc="0" normalizeH="0" baseline="0" noProof="0">
                <a:ln>
                  <a:noFill/>
                </a:ln>
                <a:solidFill>
                  <a:prstClr val="black"/>
                </a:solidFill>
                <a:effectLst/>
                <a:uLnTx/>
                <a:uFillTx/>
                <a:latin typeface="+mn-lt"/>
                <a:ea typeface="+mn-ea"/>
                <a:cs typeface="+mn-cs"/>
              </a:rPr>
              <a:t>5</a:t>
            </a:r>
            <a:r>
              <a:rPr kumimoji="1" lang="ja-JP" altLang="en-US" sz="1200" b="0" i="0" u="none" strike="noStrike" kern="1200" cap="none" spc="0" normalizeH="0" baseline="0" noProof="0">
                <a:ln>
                  <a:noFill/>
                </a:ln>
                <a:solidFill>
                  <a:prstClr val="black"/>
                </a:solidFill>
                <a:effectLst/>
                <a:uLnTx/>
                <a:uFillTx/>
                <a:latin typeface="+mn-lt"/>
                <a:ea typeface="+mn-ea"/>
                <a:cs typeface="+mn-cs"/>
              </a:rPr>
              <a:t>つ以上のスポットから</a:t>
            </a:r>
            <a:r>
              <a:rPr kumimoji="1" lang="en-US" altLang="ja-JP" sz="1200" b="0" i="0" u="none" strike="noStrike" kern="1200" cap="none" spc="0" normalizeH="0" baseline="0" noProof="0">
                <a:ln>
                  <a:noFill/>
                </a:ln>
                <a:solidFill>
                  <a:prstClr val="black"/>
                </a:solidFill>
                <a:effectLst/>
                <a:uLnTx/>
                <a:uFillTx/>
                <a:latin typeface="+mn-lt"/>
                <a:ea typeface="+mn-ea"/>
                <a:cs typeface="+mn-cs"/>
              </a:rPr>
              <a:t>5</a:t>
            </a:r>
            <a:r>
              <a:rPr kumimoji="1" lang="ja-JP" altLang="en-US" sz="1200" b="0" i="0" u="none" strike="noStrike" kern="1200" cap="none" spc="0" normalizeH="0" baseline="0" noProof="0">
                <a:ln>
                  <a:noFill/>
                </a:ln>
                <a:solidFill>
                  <a:prstClr val="black"/>
                </a:solidFill>
                <a:effectLst/>
                <a:uLnTx/>
                <a:uFillTx/>
                <a:latin typeface="+mn-lt"/>
                <a:ea typeface="+mn-ea"/>
                <a:cs typeface="+mn-cs"/>
              </a:rPr>
              <a:t>つ以上のスポット</a:t>
            </a:r>
          </a:p>
        </p:txBody>
      </p:sp>
      <p:sp>
        <p:nvSpPr>
          <p:cNvPr id="235" name="正方形/長方形 234">
            <a:extLst>
              <a:ext uri="{FF2B5EF4-FFF2-40B4-BE49-F238E27FC236}">
                <a16:creationId xmlns:a16="http://schemas.microsoft.com/office/drawing/2014/main" id="{B69AAF57-77CF-4586-8E84-CE118A67078C}"/>
              </a:ext>
            </a:extLst>
          </p:cNvPr>
          <p:cNvSpPr/>
          <p:nvPr/>
        </p:nvSpPr>
        <p:spPr bwMode="gray">
          <a:xfrm>
            <a:off x="4014470" y="3151071"/>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半年間</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大雨の日は実施不可</a:t>
            </a:r>
          </a:p>
        </p:txBody>
      </p:sp>
      <p:sp>
        <p:nvSpPr>
          <p:cNvPr id="236" name="正方形/長方形 235">
            <a:extLst>
              <a:ext uri="{FF2B5EF4-FFF2-40B4-BE49-F238E27FC236}">
                <a16:creationId xmlns:a16="http://schemas.microsoft.com/office/drawing/2014/main" id="{F6109B60-83F3-4B47-9307-E845B7F230BD}"/>
              </a:ext>
            </a:extLst>
          </p:cNvPr>
          <p:cNvSpPr/>
          <p:nvPr/>
        </p:nvSpPr>
        <p:spPr bwMode="gray">
          <a:xfrm>
            <a:off x="4014470" y="3964829"/>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フードデリバリー</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エレベータ連携によりビル内各所へ配送可能</a:t>
            </a:r>
          </a:p>
        </p:txBody>
      </p:sp>
      <p:sp>
        <p:nvSpPr>
          <p:cNvPr id="237" name="正方形/長方形 236">
            <a:extLst>
              <a:ext uri="{FF2B5EF4-FFF2-40B4-BE49-F238E27FC236}">
                <a16:creationId xmlns:a16="http://schemas.microsoft.com/office/drawing/2014/main" id="{3A14A041-E3E8-455E-95D0-D9E52059FDF2}"/>
              </a:ext>
            </a:extLst>
          </p:cNvPr>
          <p:cNvSpPr/>
          <p:nvPr/>
        </p:nvSpPr>
        <p:spPr bwMode="gray">
          <a:xfrm>
            <a:off x="4014470" y="4778587"/>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アプリをダウンロードした不特定の都民へ提供</a:t>
            </a:r>
          </a:p>
        </p:txBody>
      </p:sp>
      <p:sp>
        <p:nvSpPr>
          <p:cNvPr id="238" name="正方形/長方形 237">
            <a:extLst>
              <a:ext uri="{FF2B5EF4-FFF2-40B4-BE49-F238E27FC236}">
                <a16:creationId xmlns:a16="http://schemas.microsoft.com/office/drawing/2014/main" id="{9DBA21A0-631E-45A3-A075-2B1EC35F1A35}"/>
              </a:ext>
            </a:extLst>
          </p:cNvPr>
          <p:cNvSpPr/>
          <p:nvPr/>
        </p:nvSpPr>
        <p:spPr bwMode="gray">
          <a:xfrm>
            <a:off x="4014470" y="5592345"/>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民が飲食物の代金・配送料を支払う</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飲食店が</a:t>
            </a:r>
            <a:r>
              <a:rPr kumimoji="1" lang="en-US" altLang="ja-JP" sz="1200">
                <a:solidFill>
                  <a:prstClr val="black"/>
                </a:solidFill>
                <a:latin typeface="+mn-lt"/>
                <a:cs typeface="+mn-cs"/>
              </a:rPr>
              <a:t>PF</a:t>
            </a:r>
            <a:r>
              <a:rPr kumimoji="1" lang="ja-JP" altLang="en-US" sz="1200">
                <a:solidFill>
                  <a:prstClr val="black"/>
                </a:solidFill>
                <a:latin typeface="+mn-lt"/>
                <a:cs typeface="+mn-cs"/>
              </a:rPr>
              <a:t>利用料を支払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9" name="正方形/長方形 238">
            <a:extLst>
              <a:ext uri="{FF2B5EF4-FFF2-40B4-BE49-F238E27FC236}">
                <a16:creationId xmlns:a16="http://schemas.microsoft.com/office/drawing/2014/main" id="{D372F6E6-892D-4D9B-940A-141EA2408E78}"/>
              </a:ext>
            </a:extLst>
          </p:cNvPr>
          <p:cNvSpPr/>
          <p:nvPr/>
        </p:nvSpPr>
        <p:spPr bwMode="gray">
          <a:xfrm>
            <a:off x="6790144" y="2337314"/>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東京都下の複数エリアをまだいだ</a:t>
            </a:r>
            <a:r>
              <a:rPr kumimoji="1" lang="en-US" altLang="ja-JP" sz="1200" b="0" i="0" u="none" strike="noStrike" kern="1200" cap="none" spc="0" normalizeH="0" baseline="0" noProof="0">
                <a:ln>
                  <a:noFill/>
                </a:ln>
                <a:solidFill>
                  <a:prstClr val="black"/>
                </a:solidFill>
                <a:effectLst/>
                <a:uLnTx/>
                <a:uFillTx/>
                <a:latin typeface="+mn-lt"/>
                <a:ea typeface="+mn-ea"/>
                <a:cs typeface="+mn-cs"/>
              </a:rPr>
              <a:t>From</a:t>
            </a:r>
            <a:r>
              <a:rPr kumimoji="1" lang="ja-JP" altLang="en-US" sz="1200">
                <a:solidFill>
                  <a:prstClr val="black"/>
                </a:solidFill>
                <a:latin typeface="+mn-lt"/>
                <a:cs typeface="+mn-cs"/>
              </a:rPr>
              <a:t> </a:t>
            </a:r>
            <a:r>
              <a:rPr kumimoji="1" lang="en-US" altLang="ja-JP" sz="1200" b="0" i="0" u="none" strike="noStrike" kern="1200" cap="none" spc="0" normalizeH="0" baseline="0" noProof="0">
                <a:ln>
                  <a:noFill/>
                </a:ln>
                <a:solidFill>
                  <a:prstClr val="black"/>
                </a:solidFill>
                <a:effectLst/>
                <a:uLnTx/>
                <a:uFillTx/>
                <a:latin typeface="+mn-lt"/>
                <a:ea typeface="+mn-ea"/>
                <a:cs typeface="+mn-cs"/>
              </a:rPr>
              <a:t>N to N</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0" name="正方形/長方形 239">
            <a:extLst>
              <a:ext uri="{FF2B5EF4-FFF2-40B4-BE49-F238E27FC236}">
                <a16:creationId xmlns:a16="http://schemas.microsoft.com/office/drawing/2014/main" id="{2E214E59-574E-4992-B562-496E14123B5E}"/>
              </a:ext>
            </a:extLst>
          </p:cNvPr>
          <p:cNvSpPr/>
          <p:nvPr/>
        </p:nvSpPr>
        <p:spPr bwMode="gray">
          <a:xfrm>
            <a:off x="6790144" y="3151071"/>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天候にかかわらず通年</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1" name="正方形/長方形 240">
            <a:extLst>
              <a:ext uri="{FF2B5EF4-FFF2-40B4-BE49-F238E27FC236}">
                <a16:creationId xmlns:a16="http://schemas.microsoft.com/office/drawing/2014/main" id="{8C15E36C-6A2D-4575-9BEF-C934B58D9689}"/>
              </a:ext>
            </a:extLst>
          </p:cNvPr>
          <p:cNvSpPr/>
          <p:nvPr/>
        </p:nvSpPr>
        <p:spPr bwMode="gray">
          <a:xfrm>
            <a:off x="6790144" y="3964829"/>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フードデリバリー</a:t>
            </a:r>
            <a:endParaRPr kumimoji="1" lang="en-US" altLang="ja-JP" sz="120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エレベータ連携によりビル内各所へ配送可能</a:t>
            </a:r>
          </a:p>
        </p:txBody>
      </p:sp>
      <p:sp>
        <p:nvSpPr>
          <p:cNvPr id="242" name="正方形/長方形 241">
            <a:extLst>
              <a:ext uri="{FF2B5EF4-FFF2-40B4-BE49-F238E27FC236}">
                <a16:creationId xmlns:a16="http://schemas.microsoft.com/office/drawing/2014/main" id="{FC52D522-F27B-4FEA-96CD-FE4E43C4F250}"/>
              </a:ext>
            </a:extLst>
          </p:cNvPr>
          <p:cNvSpPr/>
          <p:nvPr/>
        </p:nvSpPr>
        <p:spPr bwMode="gray">
          <a:xfrm>
            <a:off x="6790144" y="4778587"/>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アプリをダウンロードした不特定多数の都民へ提供</a:t>
            </a:r>
          </a:p>
        </p:txBody>
      </p:sp>
      <p:sp>
        <p:nvSpPr>
          <p:cNvPr id="243" name="正方形/長方形 242">
            <a:extLst>
              <a:ext uri="{FF2B5EF4-FFF2-40B4-BE49-F238E27FC236}">
                <a16:creationId xmlns:a16="http://schemas.microsoft.com/office/drawing/2014/main" id="{4FB62A44-D1D8-411D-9511-F3755B0EA3EE}"/>
              </a:ext>
            </a:extLst>
          </p:cNvPr>
          <p:cNvSpPr/>
          <p:nvPr/>
        </p:nvSpPr>
        <p:spPr bwMode="gray">
          <a:xfrm>
            <a:off x="6790144" y="5592345"/>
            <a:ext cx="2718431" cy="730445"/>
          </a:xfrm>
          <a:prstGeom prst="rect">
            <a:avLst/>
          </a:prstGeom>
          <a:no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都民が飲食物の代金・配送料を支払う</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prstClr val="black"/>
                </a:solidFill>
                <a:latin typeface="+mn-lt"/>
                <a:cs typeface="+mn-cs"/>
              </a:rPr>
              <a:t>飲食店が</a:t>
            </a:r>
            <a:r>
              <a:rPr kumimoji="1" lang="en-US" altLang="ja-JP" sz="1200">
                <a:solidFill>
                  <a:prstClr val="black"/>
                </a:solidFill>
                <a:latin typeface="+mn-lt"/>
                <a:cs typeface="+mn-cs"/>
              </a:rPr>
              <a:t>PF</a:t>
            </a:r>
            <a:r>
              <a:rPr kumimoji="1" lang="ja-JP" altLang="en-US" sz="1200">
                <a:solidFill>
                  <a:prstClr val="black"/>
                </a:solidFill>
                <a:latin typeface="+mn-lt"/>
                <a:cs typeface="+mn-cs"/>
              </a:rPr>
              <a:t>利用料を支払う</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4" name="テキスト ボックス 243">
            <a:extLst>
              <a:ext uri="{FF2B5EF4-FFF2-40B4-BE49-F238E27FC236}">
                <a16:creationId xmlns:a16="http://schemas.microsoft.com/office/drawing/2014/main" id="{DFACB36C-DCB5-45E7-9B19-79ACA182C464}"/>
              </a:ext>
            </a:extLst>
          </p:cNvPr>
          <p:cNvSpPr txBox="1"/>
          <p:nvPr/>
        </p:nvSpPr>
        <p:spPr>
          <a:xfrm rot="20118198">
            <a:off x="3631813" y="3422747"/>
            <a:ext cx="3395481" cy="40143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21673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3DCE3113-1AFE-47F3-8988-D40381D11595}"/>
              </a:ext>
            </a:extLst>
          </p:cNvPr>
          <p:cNvGraphicFramePr>
            <a:graphicFrameLocks noChangeAspect="1"/>
          </p:cNvGraphicFramePr>
          <p:nvPr>
            <p:custDataLst>
              <p:tags r:id="rId1"/>
            </p:custDataLst>
            <p:extLst>
              <p:ext uri="{D42A27DB-BD31-4B8C-83A1-F6EECF244321}">
                <p14:modId xmlns:p14="http://schemas.microsoft.com/office/powerpoint/2010/main" val="1444249829"/>
              </p:ext>
            </p:extLst>
          </p:nvPr>
        </p:nvGraphicFramePr>
        <p:xfrm>
          <a:off x="382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11" name="オブジェクト 10" hidden="1">
                        <a:extLst>
                          <a:ext uri="{FF2B5EF4-FFF2-40B4-BE49-F238E27FC236}">
                            <a16:creationId xmlns:a16="http://schemas.microsoft.com/office/drawing/2014/main" id="{3DCE3113-1AFE-47F3-8988-D40381D11595}"/>
                          </a:ext>
                        </a:extLst>
                      </p:cNvPr>
                      <p:cNvPicPr/>
                      <p:nvPr/>
                    </p:nvPicPr>
                    <p:blipFill>
                      <a:blip r:embed="rId5"/>
                      <a:stretch>
                        <a:fillRect/>
                      </a:stretch>
                    </p:blipFill>
                    <p:spPr>
                      <a:xfrm>
                        <a:off x="382466" y="265235"/>
                        <a:ext cx="1466" cy="1466"/>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3.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たロードマップ</a:t>
            </a:r>
            <a:r>
              <a:rPr lang="ja-JP" altLang="en-US" b="1">
                <a:latin typeface="Yu Gothic UI" panose="020B0500000000000000" pitchFamily="50" charset="-128"/>
                <a:ea typeface="Yu Gothic UI" panose="020B0500000000000000" pitchFamily="50" charset="-128"/>
                <a:sym typeface="Yu Gothic UI" panose="020B0500000000000000" pitchFamily="50" charset="-128"/>
              </a:rPr>
              <a:t> </a:t>
            </a:r>
            <a:r>
              <a:rPr lang="en-US" altLang="ja-JP" b="1">
                <a:latin typeface="Yu Gothic UI" panose="020B0500000000000000" pitchFamily="50" charset="-128"/>
                <a:ea typeface="Yu Gothic UI" panose="020B0500000000000000" pitchFamily="50" charset="-128"/>
                <a:sym typeface="Yu Gothic UI" panose="020B0500000000000000" pitchFamily="50" charset="-128"/>
              </a:rPr>
              <a:t>/</a:t>
            </a:r>
            <a:r>
              <a:rPr lang="ja-JP" altLang="en-US" b="1">
                <a:latin typeface="Yu Gothic UI" panose="020B0500000000000000" pitchFamily="50" charset="-128"/>
                <a:ea typeface="Yu Gothic UI" panose="020B0500000000000000" pitchFamily="50" charset="-128"/>
                <a:sym typeface="Yu Gothic UI" panose="020B0500000000000000" pitchFamily="50" charset="-128"/>
              </a:rPr>
              <a:t> </a:t>
            </a:r>
            <a:r>
              <a:rPr lang="ja-JP" altLang="en-US">
                <a:latin typeface="Yu Gothic UI" panose="020B0500000000000000" pitchFamily="50" charset="-128"/>
                <a:ea typeface="Yu Gothic UI" panose="020B0500000000000000" pitchFamily="50" charset="-128"/>
                <a:sym typeface="Yu Gothic UI" panose="020B0500000000000000" pitchFamily="50" charset="-128"/>
              </a:rPr>
              <a:t>将来的な事業化イメージ</a:t>
            </a:r>
          </a:p>
        </p:txBody>
      </p:sp>
      <p:sp>
        <p:nvSpPr>
          <p:cNvPr id="46" name="正方形/長方形 45">
            <a:extLst>
              <a:ext uri="{FF2B5EF4-FFF2-40B4-BE49-F238E27FC236}">
                <a16:creationId xmlns:a16="http://schemas.microsoft.com/office/drawing/2014/main" id="{C702057B-1130-4539-B5B6-B1B61033F9C8}"/>
              </a:ext>
            </a:extLst>
          </p:cNvPr>
          <p:cNvSpPr/>
          <p:nvPr/>
        </p:nvSpPr>
        <p:spPr>
          <a:xfrm>
            <a:off x="415925" y="627157"/>
            <a:ext cx="8374153" cy="2658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将来的な事業化イメージ</a:t>
            </a:r>
            <a:endParaRPr kumimoji="1" lang="ja-JP" altLang="en-US" sz="1292" b="1" u="sng">
              <a:solidFill>
                <a:schemeClr val="accent6"/>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47" name="正方形/長方形 46">
            <a:extLst>
              <a:ext uri="{FF2B5EF4-FFF2-40B4-BE49-F238E27FC236}">
                <a16:creationId xmlns:a16="http://schemas.microsoft.com/office/drawing/2014/main" id="{4B44D9C7-C210-4CC8-8302-938498DEFCD0}"/>
              </a:ext>
            </a:extLst>
          </p:cNvPr>
          <p:cNvSpPr/>
          <p:nvPr/>
        </p:nvSpPr>
        <p:spPr>
          <a:xfrm>
            <a:off x="415925" y="901990"/>
            <a:ext cx="8374153" cy="223732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将来的に想定している事業化イメージについて記載してください</a:t>
            </a:r>
            <a:br>
              <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br>
            <a:r>
              <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lt;</a:t>
            </a: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内容例</a:t>
            </a:r>
            <a:r>
              <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gt;</a:t>
            </a:r>
          </a:p>
          <a:p>
            <a:pPr marL="353802" lvl="1" indent="-173761">
              <a:spcBef>
                <a:spcPts val="396"/>
              </a:spcBef>
              <a:buFont typeface="Arial" panose="020B0604020202020204" pitchFamily="34" charset="0"/>
              <a:buChar char="•"/>
            </a:pP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事業成立</a:t>
            </a:r>
            <a:r>
              <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黒字化</a:t>
            </a:r>
            <a:r>
              <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へのロードマップ</a:t>
            </a:r>
            <a:endPar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事業性の概算</a:t>
            </a:r>
            <a:endParaRPr kumimoji="1" lang="en-US" altLang="ja-JP"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マネタイズスキーム</a:t>
            </a:r>
          </a:p>
          <a:p>
            <a:pPr marL="188415" indent="-188415">
              <a:spcBef>
                <a:spcPts val="396"/>
              </a:spcBef>
              <a:buFont typeface="Wingdings" panose="05000000000000000000" pitchFamily="2" charset="2"/>
              <a:buChar char="l"/>
            </a:pPr>
            <a:r>
              <a:rPr kumimoji="1" lang="ja-JP" altLang="en-US" sz="1290">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にあたっては、図表等を用いて分かりやすく記載してください。</a:t>
            </a:r>
            <a:endParaRPr kumimoji="1" lang="en-US" altLang="ja-JP" sz="1290">
              <a:solidFill>
                <a:srgbClr val="FF0000"/>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endParaRPr kumimoji="1" lang="en-US" altLang="ja-JP" sz="1290">
              <a:solidFill>
                <a:srgbClr val="FF0000"/>
              </a:solidFill>
            </a:endParaRPr>
          </a:p>
        </p:txBody>
      </p:sp>
      <p:sp>
        <p:nvSpPr>
          <p:cNvPr id="15" name="スライド番号プレースホルダー 3">
            <a:extLst>
              <a:ext uri="{FF2B5EF4-FFF2-40B4-BE49-F238E27FC236}">
                <a16:creationId xmlns:a16="http://schemas.microsoft.com/office/drawing/2014/main" id="{E23DA151-5AF2-4871-87C5-7E5F5426AC3C}"/>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6</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7" name="正方形/長方形 6">
            <a:extLst>
              <a:ext uri="{FF2B5EF4-FFF2-40B4-BE49-F238E27FC236}">
                <a16:creationId xmlns:a16="http://schemas.microsoft.com/office/drawing/2014/main" id="{464BE9FF-736E-4E53-8D4A-CB3161234E61}"/>
              </a:ext>
            </a:extLst>
          </p:cNvPr>
          <p:cNvSpPr/>
          <p:nvPr/>
        </p:nvSpPr>
        <p:spPr bwMode="gray">
          <a:xfrm>
            <a:off x="415925" y="2414720"/>
            <a:ext cx="9072000" cy="36000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事業化イメージ</a:t>
            </a:r>
          </a:p>
        </p:txBody>
      </p:sp>
      <p:sp>
        <p:nvSpPr>
          <p:cNvPr id="8" name="正方形/長方形 7">
            <a:extLst>
              <a:ext uri="{FF2B5EF4-FFF2-40B4-BE49-F238E27FC236}">
                <a16:creationId xmlns:a16="http://schemas.microsoft.com/office/drawing/2014/main" id="{4059D352-E1AD-417E-B043-6FF9B16833B4}"/>
              </a:ext>
            </a:extLst>
          </p:cNvPr>
          <p:cNvSpPr/>
          <p:nvPr/>
        </p:nvSpPr>
        <p:spPr bwMode="gray">
          <a:xfrm>
            <a:off x="415925" y="2845347"/>
            <a:ext cx="9072000" cy="2459177"/>
          </a:xfrm>
          <a:prstGeom prst="rect">
            <a:avLst/>
          </a:prstGeom>
          <a:solidFill>
            <a:schemeClr val="bg1"/>
          </a:solidFill>
          <a:ln w="12700" algn="ctr">
            <a:solidFill>
              <a:schemeClr val="bg1">
                <a:lumMod val="6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i="0" u="none" strike="noStrike" kern="1200" cap="none" spc="0" normalizeH="0" baseline="0" noProof="0">
              <a:ln>
                <a:noFill/>
              </a:ln>
              <a:solidFill>
                <a:prstClr val="black"/>
              </a:solidFill>
              <a:effectLst/>
              <a:uLnTx/>
              <a:uFillTx/>
              <a:latin typeface="+mn-lt"/>
              <a:ea typeface="+mn-ea"/>
              <a:cs typeface="+mn-cs"/>
            </a:endParaRPr>
          </a:p>
        </p:txBody>
      </p:sp>
      <p:cxnSp>
        <p:nvCxnSpPr>
          <p:cNvPr id="9" name="直線コネクタ 8">
            <a:extLst>
              <a:ext uri="{FF2B5EF4-FFF2-40B4-BE49-F238E27FC236}">
                <a16:creationId xmlns:a16="http://schemas.microsoft.com/office/drawing/2014/main" id="{3F2FAD0F-244E-4293-AEFF-B735C373DD69}"/>
              </a:ext>
            </a:extLst>
          </p:cNvPr>
          <p:cNvCxnSpPr>
            <a:cxnSpLocks/>
          </p:cNvCxnSpPr>
          <p:nvPr/>
        </p:nvCxnSpPr>
        <p:spPr bwMode="gray">
          <a:xfrm>
            <a:off x="415925" y="2774720"/>
            <a:ext cx="907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0668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F4102EA-8570-4C53-9D9B-51C8D95C0B0B}"/>
              </a:ext>
            </a:extLst>
          </p:cNvPr>
          <p:cNvGraphicFramePr>
            <a:graphicFrameLocks noChangeAspect="1"/>
          </p:cNvGraphicFramePr>
          <p:nvPr>
            <p:custDataLst>
              <p:tags r:id="rId1"/>
            </p:custDataLst>
            <p:extLst>
              <p:ext uri="{D42A27DB-BD31-4B8C-83A1-F6EECF244321}">
                <p14:modId xmlns:p14="http://schemas.microsoft.com/office/powerpoint/2010/main" val="413100551"/>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1F4102EA-8570-4C53-9D9B-51C8D95C0B0B}"/>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4.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認識している課題とその解決方針</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15134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て認識している課題について、以下の観点を参考に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技術的課題</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制度的課題</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ビジネス的課題（採算性、顧客ニーズ等）</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353802" lvl="1" indent="-173761">
              <a:spcBef>
                <a:spcPts val="396"/>
              </a:spcBef>
              <a:buFont typeface="Arial" panose="020B0604020202020204" pitchFamily="34" charset="0"/>
              <a:buChar char="•"/>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体制的課題（行政・エリマネ・他事業者との連携等）</a:t>
            </a: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上記の各課題に対する解決方針を</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分科会活動単位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A5E3BDFA-97E1-4143-A290-5878289A261F}"/>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7</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6" name="正方形/長方形 5">
            <a:extLst>
              <a:ext uri="{FF2B5EF4-FFF2-40B4-BE49-F238E27FC236}">
                <a16:creationId xmlns:a16="http://schemas.microsoft.com/office/drawing/2014/main" id="{AAB0A226-BA4B-49AB-9DEF-CACD3E2E5D1F}"/>
              </a:ext>
            </a:extLst>
          </p:cNvPr>
          <p:cNvSpPr/>
          <p:nvPr/>
        </p:nvSpPr>
        <p:spPr bwMode="gray">
          <a:xfrm>
            <a:off x="415925" y="3478871"/>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schemeClr val="bg1"/>
                </a:solidFill>
                <a:latin typeface="+mn-lt"/>
                <a:cs typeface="+mn-cs"/>
              </a:rPr>
              <a:t>制度的</a:t>
            </a:r>
            <a:r>
              <a:rPr kumimoji="1" lang="ja-JP" altLang="en-US" sz="1200" b="1" i="0" u="none" strike="noStrike" kern="1200" cap="none" spc="0" normalizeH="0" baseline="0" noProof="0">
                <a:ln>
                  <a:noFill/>
                </a:ln>
                <a:solidFill>
                  <a:schemeClr val="bg1"/>
                </a:solidFill>
                <a:effectLst/>
                <a:uLnTx/>
                <a:uFillTx/>
                <a:latin typeface="+mn-lt"/>
                <a:ea typeface="+mn-ea"/>
                <a:cs typeface="+mn-cs"/>
              </a:rPr>
              <a:t>課題</a:t>
            </a:r>
          </a:p>
        </p:txBody>
      </p:sp>
      <p:sp>
        <p:nvSpPr>
          <p:cNvPr id="7" name="正方形/長方形 6">
            <a:extLst>
              <a:ext uri="{FF2B5EF4-FFF2-40B4-BE49-F238E27FC236}">
                <a16:creationId xmlns:a16="http://schemas.microsoft.com/office/drawing/2014/main" id="{F13DA401-B1FB-4202-8986-3D1F54F143F0}"/>
              </a:ext>
            </a:extLst>
          </p:cNvPr>
          <p:cNvSpPr/>
          <p:nvPr/>
        </p:nvSpPr>
        <p:spPr bwMode="gray">
          <a:xfrm>
            <a:off x="415925" y="2549678"/>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lt"/>
                <a:ea typeface="+mn-ea"/>
                <a:cs typeface="+mn-cs"/>
              </a:rPr>
              <a:t>技術的課題</a:t>
            </a:r>
          </a:p>
        </p:txBody>
      </p:sp>
      <p:sp>
        <p:nvSpPr>
          <p:cNvPr id="9" name="正方形/長方形 8">
            <a:extLst>
              <a:ext uri="{FF2B5EF4-FFF2-40B4-BE49-F238E27FC236}">
                <a16:creationId xmlns:a16="http://schemas.microsoft.com/office/drawing/2014/main" id="{9C91125B-EBB5-45E5-9F5E-A9F4E3E9C946}"/>
              </a:ext>
            </a:extLst>
          </p:cNvPr>
          <p:cNvSpPr/>
          <p:nvPr/>
        </p:nvSpPr>
        <p:spPr bwMode="gray">
          <a:xfrm>
            <a:off x="1782501" y="2549676"/>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b="0" i="0" u="none" strike="noStrike" kern="1200" cap="none" spc="0" normalizeH="0" baseline="0" noProof="0">
                <a:ln>
                  <a:noFill/>
                </a:ln>
                <a:solidFill>
                  <a:prstClr val="black"/>
                </a:solidFill>
                <a:effectLst/>
                <a:uLnTx/>
                <a:uFillTx/>
                <a:latin typeface="+mn-lt"/>
                <a:ea typeface="+mn-ea"/>
                <a:cs typeface="+mn-cs"/>
              </a:rPr>
              <a:t>例）雨天等による走行障害を回避するための、信号等インフラ連携技術</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正方形/長方形 9">
            <a:extLst>
              <a:ext uri="{FF2B5EF4-FFF2-40B4-BE49-F238E27FC236}">
                <a16:creationId xmlns:a16="http://schemas.microsoft.com/office/drawing/2014/main" id="{3F32A078-33B2-47FA-988C-71DB3F3F15E2}"/>
              </a:ext>
            </a:extLst>
          </p:cNvPr>
          <p:cNvSpPr/>
          <p:nvPr/>
        </p:nvSpPr>
        <p:spPr bwMode="gray">
          <a:xfrm>
            <a:off x="1782501" y="3478873"/>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sp>
        <p:nvSpPr>
          <p:cNvPr id="11" name="正方形/長方形 10">
            <a:extLst>
              <a:ext uri="{FF2B5EF4-FFF2-40B4-BE49-F238E27FC236}">
                <a16:creationId xmlns:a16="http://schemas.microsoft.com/office/drawing/2014/main" id="{BA7D3EB4-0652-4CDD-A3E8-AD29BA05EE45}"/>
              </a:ext>
            </a:extLst>
          </p:cNvPr>
          <p:cNvSpPr/>
          <p:nvPr/>
        </p:nvSpPr>
        <p:spPr bwMode="gray">
          <a:xfrm>
            <a:off x="5670245" y="2549676"/>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b="0" i="0" u="none" strike="noStrike" kern="1200" cap="none" spc="0" normalizeH="0" baseline="0" noProof="0">
                <a:ln>
                  <a:noFill/>
                </a:ln>
                <a:solidFill>
                  <a:prstClr val="black"/>
                </a:solidFill>
                <a:effectLst/>
                <a:uLnTx/>
                <a:uFillTx/>
                <a:latin typeface="+mn-lt"/>
                <a:ea typeface="+mn-ea"/>
                <a:cs typeface="+mn-cs"/>
              </a:rPr>
              <a:t>例）分科会における課題整理・技術要件を踏まえたうえで開発を行うと同時に、国土交通省へのロビイングを実施し、</a:t>
            </a:r>
            <a:r>
              <a:rPr kumimoji="1" lang="en-US" altLang="ja-JP" sz="1200" b="0" i="0" u="none" strike="noStrike" kern="1200" cap="none" spc="0" normalizeH="0" baseline="0" noProof="0">
                <a:ln>
                  <a:noFill/>
                </a:ln>
                <a:solidFill>
                  <a:prstClr val="black"/>
                </a:solidFill>
                <a:effectLst/>
                <a:uLnTx/>
                <a:uFillTx/>
                <a:latin typeface="+mn-lt"/>
                <a:ea typeface="+mn-ea"/>
                <a:cs typeface="+mn-cs"/>
              </a:rPr>
              <a:t>2023</a:t>
            </a:r>
            <a:r>
              <a:rPr kumimoji="1" lang="ja-JP" altLang="en-US" sz="1200" b="0" i="0" u="none" strike="noStrike" kern="1200" cap="none" spc="0" normalizeH="0" baseline="0" noProof="0">
                <a:ln>
                  <a:noFill/>
                </a:ln>
                <a:solidFill>
                  <a:prstClr val="black"/>
                </a:solidFill>
                <a:effectLst/>
                <a:uLnTx/>
                <a:uFillTx/>
                <a:latin typeface="+mn-lt"/>
                <a:ea typeface="+mn-ea"/>
                <a:cs typeface="+mn-cs"/>
              </a:rPr>
              <a:t>～</a:t>
            </a:r>
            <a:r>
              <a:rPr kumimoji="1" lang="en-US" altLang="ja-JP" sz="1200" b="0" i="0" u="none" strike="noStrike" kern="1200" cap="none" spc="0" normalizeH="0" baseline="0" noProof="0">
                <a:ln>
                  <a:noFill/>
                </a:ln>
                <a:solidFill>
                  <a:prstClr val="black"/>
                </a:solidFill>
                <a:effectLst/>
                <a:uLnTx/>
                <a:uFillTx/>
                <a:latin typeface="+mn-lt"/>
                <a:ea typeface="+mn-ea"/>
                <a:cs typeface="+mn-cs"/>
              </a:rPr>
              <a:t>4</a:t>
            </a:r>
            <a:r>
              <a:rPr kumimoji="1" lang="ja-JP" altLang="en-US" sz="1200" b="0" i="0" u="none" strike="noStrike" kern="1200" cap="none" spc="0" normalizeH="0" baseline="0" noProof="0">
                <a:ln>
                  <a:noFill/>
                </a:ln>
                <a:solidFill>
                  <a:prstClr val="black"/>
                </a:solidFill>
                <a:effectLst/>
                <a:uLnTx/>
                <a:uFillTx/>
                <a:latin typeface="+mn-lt"/>
                <a:ea typeface="+mn-ea"/>
                <a:cs typeface="+mn-cs"/>
              </a:rPr>
              <a:t>年度の</a:t>
            </a:r>
            <a:r>
              <a:rPr kumimoji="1" lang="en-US" altLang="ja-JP" sz="1200" b="0" i="0" u="none" strike="noStrike" kern="1200" cap="none" spc="0" normalizeH="0" baseline="0" noProof="0">
                <a:ln>
                  <a:noFill/>
                </a:ln>
                <a:solidFill>
                  <a:prstClr val="black"/>
                </a:solidFill>
                <a:effectLst/>
                <a:uLnTx/>
                <a:uFillTx/>
                <a:latin typeface="+mn-lt"/>
                <a:ea typeface="+mn-ea"/>
                <a:cs typeface="+mn-cs"/>
              </a:rPr>
              <a:t>PoC</a:t>
            </a:r>
            <a:r>
              <a:rPr kumimoji="1" lang="ja-JP" altLang="en-US" sz="1200" b="0" i="0" u="none" strike="noStrike" kern="1200" cap="none" spc="0" normalizeH="0" baseline="0" noProof="0">
                <a:ln>
                  <a:noFill/>
                </a:ln>
                <a:solidFill>
                  <a:prstClr val="black"/>
                </a:solidFill>
                <a:effectLst/>
                <a:uLnTx/>
                <a:uFillTx/>
                <a:latin typeface="+mn-lt"/>
                <a:ea typeface="+mn-ea"/>
                <a:cs typeface="+mn-cs"/>
              </a:rPr>
              <a:t>にて</a:t>
            </a:r>
            <a:r>
              <a:rPr kumimoji="1" lang="ja-JP" altLang="en-US" sz="1200">
                <a:solidFill>
                  <a:prstClr val="black"/>
                </a:solidFill>
                <a:latin typeface="+mn-lt"/>
                <a:cs typeface="+mn-cs"/>
              </a:rPr>
              <a:t>技術確立・検証を実施</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12" name="正方形/長方形 11">
            <a:extLst>
              <a:ext uri="{FF2B5EF4-FFF2-40B4-BE49-F238E27FC236}">
                <a16:creationId xmlns:a16="http://schemas.microsoft.com/office/drawing/2014/main" id="{0982ED4E-26BB-44AD-B0D6-44F19D394546}"/>
              </a:ext>
            </a:extLst>
          </p:cNvPr>
          <p:cNvSpPr/>
          <p:nvPr/>
        </p:nvSpPr>
        <p:spPr bwMode="gray">
          <a:xfrm>
            <a:off x="5670245" y="3478873"/>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grpSp>
        <p:nvGrpSpPr>
          <p:cNvPr id="13" name="グループ化 12">
            <a:extLst>
              <a:ext uri="{FF2B5EF4-FFF2-40B4-BE49-F238E27FC236}">
                <a16:creationId xmlns:a16="http://schemas.microsoft.com/office/drawing/2014/main" id="{15CA5DF1-976B-4A3E-8EB6-835CB3B911A1}"/>
              </a:ext>
            </a:extLst>
          </p:cNvPr>
          <p:cNvGrpSpPr/>
          <p:nvPr/>
        </p:nvGrpSpPr>
        <p:grpSpPr>
          <a:xfrm>
            <a:off x="1782501" y="2267096"/>
            <a:ext cx="3819830" cy="235274"/>
            <a:chOff x="415926" y="1749852"/>
            <a:chExt cx="4366978" cy="284681"/>
          </a:xfrm>
        </p:grpSpPr>
        <p:sp>
          <p:nvSpPr>
            <p:cNvPr id="14" name="正方形/長方形 13">
              <a:extLst>
                <a:ext uri="{FF2B5EF4-FFF2-40B4-BE49-F238E27FC236}">
                  <a16:creationId xmlns:a16="http://schemas.microsoft.com/office/drawing/2014/main" id="{F619DF61-F86F-495A-9E83-3A4887D0398E}"/>
                </a:ext>
              </a:extLst>
            </p:cNvPr>
            <p:cNvSpPr/>
            <p:nvPr/>
          </p:nvSpPr>
          <p:spPr bwMode="gray">
            <a:xfrm>
              <a:off x="415926" y="1749852"/>
              <a:ext cx="4366978" cy="257630"/>
            </a:xfrm>
            <a:prstGeom prst="rect">
              <a:avLst/>
            </a:prstGeom>
            <a:noFill/>
            <a:ln w="12700" algn="ctr">
              <a:solidFill>
                <a:schemeClr val="bg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i="0" u="none" strike="noStrike" kern="1200" cap="none" spc="0" normalizeH="0" baseline="0" noProof="0">
                  <a:ln>
                    <a:noFill/>
                  </a:ln>
                  <a:solidFill>
                    <a:schemeClr val="tx2"/>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rPr>
                <a:t>都市実装に向けた課題</a:t>
              </a:r>
            </a:p>
          </p:txBody>
        </p:sp>
        <p:cxnSp>
          <p:nvCxnSpPr>
            <p:cNvPr id="15" name="直線矢印コネクタ 14">
              <a:extLst>
                <a:ext uri="{FF2B5EF4-FFF2-40B4-BE49-F238E27FC236}">
                  <a16:creationId xmlns:a16="http://schemas.microsoft.com/office/drawing/2014/main" id="{1B2168BA-1909-43B8-B03F-7C8CE2E07B73}"/>
                </a:ext>
              </a:extLst>
            </p:cNvPr>
            <p:cNvCxnSpPr>
              <a:cxnSpLocks/>
            </p:cNvCxnSpPr>
            <p:nvPr/>
          </p:nvCxnSpPr>
          <p:spPr bwMode="gray">
            <a:xfrm>
              <a:off x="430363" y="2034533"/>
              <a:ext cx="4324450"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6" name="グループ化 15">
            <a:extLst>
              <a:ext uri="{FF2B5EF4-FFF2-40B4-BE49-F238E27FC236}">
                <a16:creationId xmlns:a16="http://schemas.microsoft.com/office/drawing/2014/main" id="{9BB608B8-5D56-45C4-8D2B-3029514805AB}"/>
              </a:ext>
            </a:extLst>
          </p:cNvPr>
          <p:cNvGrpSpPr/>
          <p:nvPr/>
        </p:nvGrpSpPr>
        <p:grpSpPr>
          <a:xfrm>
            <a:off x="5670245" y="2267096"/>
            <a:ext cx="3819830" cy="235274"/>
            <a:chOff x="415926" y="1749852"/>
            <a:chExt cx="4366978" cy="284681"/>
          </a:xfrm>
        </p:grpSpPr>
        <p:sp>
          <p:nvSpPr>
            <p:cNvPr id="17" name="正方形/長方形 16">
              <a:extLst>
                <a:ext uri="{FF2B5EF4-FFF2-40B4-BE49-F238E27FC236}">
                  <a16:creationId xmlns:a16="http://schemas.microsoft.com/office/drawing/2014/main" id="{F420940D-BEAA-4C3B-BB54-EDED6414D16F}"/>
                </a:ext>
              </a:extLst>
            </p:cNvPr>
            <p:cNvSpPr/>
            <p:nvPr/>
          </p:nvSpPr>
          <p:spPr bwMode="gray">
            <a:xfrm>
              <a:off x="415926" y="1749852"/>
              <a:ext cx="4366978" cy="257630"/>
            </a:xfrm>
            <a:prstGeom prst="rect">
              <a:avLst/>
            </a:prstGeom>
            <a:noFill/>
            <a:ln w="12700" algn="ctr">
              <a:solidFill>
                <a:schemeClr val="bg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200">
                  <a:solidFill>
                    <a:schemeClr val="tx2"/>
                  </a:solidFill>
                  <a:latin typeface="Yu Gothic UI" panose="020B0500000000000000" pitchFamily="50" charset="-128"/>
                  <a:ea typeface="Yu Gothic UI" panose="020B0500000000000000" pitchFamily="50" charset="-128"/>
                  <a:cs typeface="+mn-cs"/>
                  <a:sym typeface="Yu Gothic UI" panose="020B0500000000000000" pitchFamily="50" charset="-128"/>
                </a:rPr>
                <a:t>解決のための施策・施策実施時期</a:t>
              </a:r>
              <a:endParaRPr kumimoji="1" lang="ja-JP" altLang="en-US" sz="1200" i="0" u="none" strike="noStrike" kern="1200" cap="none" spc="0" normalizeH="0" baseline="0" noProof="0">
                <a:ln>
                  <a:noFill/>
                </a:ln>
                <a:solidFill>
                  <a:schemeClr val="tx2"/>
                </a:solidFill>
                <a:effectLst/>
                <a:uLnTx/>
                <a:uFillTx/>
                <a:latin typeface="Yu Gothic UI" panose="020B0500000000000000" pitchFamily="50" charset="-128"/>
                <a:ea typeface="Yu Gothic UI" panose="020B0500000000000000" pitchFamily="50" charset="-128"/>
                <a:cs typeface="+mn-cs"/>
                <a:sym typeface="Yu Gothic UI" panose="020B0500000000000000" pitchFamily="50" charset="-128"/>
              </a:endParaRPr>
            </a:p>
          </p:txBody>
        </p:sp>
        <p:cxnSp>
          <p:nvCxnSpPr>
            <p:cNvPr id="18" name="直線矢印コネクタ 17">
              <a:extLst>
                <a:ext uri="{FF2B5EF4-FFF2-40B4-BE49-F238E27FC236}">
                  <a16:creationId xmlns:a16="http://schemas.microsoft.com/office/drawing/2014/main" id="{A96A722A-1922-46DE-A53D-DBA6335AD6DF}"/>
                </a:ext>
              </a:extLst>
            </p:cNvPr>
            <p:cNvCxnSpPr>
              <a:cxnSpLocks/>
            </p:cNvCxnSpPr>
            <p:nvPr/>
          </p:nvCxnSpPr>
          <p:spPr bwMode="gray">
            <a:xfrm>
              <a:off x="430363" y="2034533"/>
              <a:ext cx="4324450" cy="0"/>
            </a:xfrm>
            <a:prstGeom prst="straightConnector1">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4" name="正方形/長方形 23">
            <a:extLst>
              <a:ext uri="{FF2B5EF4-FFF2-40B4-BE49-F238E27FC236}">
                <a16:creationId xmlns:a16="http://schemas.microsoft.com/office/drawing/2014/main" id="{DB110D58-C6CC-4CBE-9C72-5A803BC667C6}"/>
              </a:ext>
            </a:extLst>
          </p:cNvPr>
          <p:cNvSpPr/>
          <p:nvPr/>
        </p:nvSpPr>
        <p:spPr bwMode="gray">
          <a:xfrm>
            <a:off x="415925" y="5349225"/>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schemeClr val="bg1"/>
                </a:solidFill>
                <a:latin typeface="+mn-lt"/>
                <a:cs typeface="+mn-cs"/>
              </a:rPr>
              <a:t>体制的</a:t>
            </a:r>
            <a:r>
              <a:rPr kumimoji="1" lang="ja-JP" altLang="en-US" sz="1200" b="1" i="0" u="none" strike="noStrike" kern="1200" cap="none" spc="0" normalizeH="0" baseline="0" noProof="0">
                <a:ln>
                  <a:noFill/>
                </a:ln>
                <a:solidFill>
                  <a:schemeClr val="bg1"/>
                </a:solidFill>
                <a:effectLst/>
                <a:uLnTx/>
                <a:uFillTx/>
                <a:latin typeface="+mn-lt"/>
                <a:ea typeface="+mn-ea"/>
                <a:cs typeface="+mn-cs"/>
              </a:rPr>
              <a:t>課題</a:t>
            </a:r>
            <a:endParaRPr kumimoji="1" lang="en-US" altLang="ja-JP" sz="1200" b="1"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a:ln>
                  <a:noFill/>
                </a:ln>
                <a:solidFill>
                  <a:schemeClr val="bg1"/>
                </a:solidFill>
                <a:effectLst/>
                <a:uLnTx/>
                <a:uFillTx/>
                <a:latin typeface="+mn-lt"/>
                <a:ea typeface="+mn-ea"/>
                <a:cs typeface="+mn-cs"/>
              </a:rPr>
              <a:t>(</a:t>
            </a:r>
            <a:r>
              <a:rPr kumimoji="1" lang="ja-JP" altLang="en-US" sz="1200" b="1" i="0" u="none" strike="noStrike" kern="1200" cap="none" spc="0" normalizeH="0" baseline="0" noProof="0">
                <a:ln>
                  <a:noFill/>
                </a:ln>
                <a:solidFill>
                  <a:schemeClr val="bg1"/>
                </a:solidFill>
                <a:effectLst/>
                <a:uLnTx/>
                <a:uFillTx/>
                <a:latin typeface="+mn-lt"/>
                <a:ea typeface="+mn-ea"/>
                <a:cs typeface="+mn-cs"/>
              </a:rPr>
              <a:t>行政・エリマネ・他事業者との連携等</a:t>
            </a:r>
            <a:r>
              <a:rPr kumimoji="1" lang="en-US" altLang="ja-JP" sz="1200" b="1" i="0" u="none" strike="noStrike" kern="1200" cap="none" spc="0" normalizeH="0" baseline="0" noProof="0">
                <a:ln>
                  <a:noFill/>
                </a:ln>
                <a:solidFill>
                  <a:schemeClr val="bg1"/>
                </a:solidFill>
                <a:effectLst/>
                <a:uLnTx/>
                <a:uFillTx/>
                <a:latin typeface="+mn-lt"/>
                <a:ea typeface="+mn-ea"/>
                <a:cs typeface="+mn-cs"/>
              </a:rPr>
              <a:t>)</a:t>
            </a:r>
            <a:endParaRPr kumimoji="1" lang="ja-JP" altLang="en-US" sz="1200" b="1" i="0" u="none" strike="noStrike" kern="1200" cap="none" spc="0" normalizeH="0" baseline="0" noProof="0">
              <a:ln>
                <a:noFill/>
              </a:ln>
              <a:solidFill>
                <a:schemeClr val="bg1"/>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D256E27E-0527-4414-834D-46EF6F69F216}"/>
              </a:ext>
            </a:extLst>
          </p:cNvPr>
          <p:cNvSpPr/>
          <p:nvPr/>
        </p:nvSpPr>
        <p:spPr bwMode="gray">
          <a:xfrm>
            <a:off x="415925" y="4410799"/>
            <a:ext cx="1276517" cy="864000"/>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schemeClr val="bg1"/>
                </a:solidFill>
                <a:latin typeface="+mn-lt"/>
                <a:cs typeface="+mn-cs"/>
              </a:rPr>
              <a:t>ビジネス</a:t>
            </a:r>
            <a:r>
              <a:rPr kumimoji="1" lang="ja-JP" altLang="en-US" sz="1200" b="1" i="0" u="none" strike="noStrike" kern="1200" cap="none" spc="0" normalizeH="0" baseline="0" noProof="0">
                <a:ln>
                  <a:noFill/>
                </a:ln>
                <a:solidFill>
                  <a:schemeClr val="bg1"/>
                </a:solidFill>
                <a:effectLst/>
                <a:uLnTx/>
                <a:uFillTx/>
                <a:latin typeface="+mn-lt"/>
                <a:ea typeface="+mn-ea"/>
                <a:cs typeface="+mn-cs"/>
              </a:rPr>
              <a:t>的課題</a:t>
            </a:r>
            <a:endParaRPr kumimoji="1" lang="en-US" altLang="ja-JP" sz="1200" b="1" i="0" u="none" strike="noStrike" kern="1200" cap="none" spc="0" normalizeH="0" baseline="0" noProof="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lt"/>
                <a:ea typeface="+mn-ea"/>
                <a:cs typeface="+mn-cs"/>
              </a:rPr>
              <a:t>（採算性、顧客ニーズ等</a:t>
            </a:r>
            <a:r>
              <a:rPr kumimoji="1" lang="en-US" altLang="ja-JP" sz="1200" b="1" i="0" u="none" strike="noStrike" kern="1200" cap="none" spc="0" normalizeH="0" baseline="0" noProof="0">
                <a:ln>
                  <a:noFill/>
                </a:ln>
                <a:solidFill>
                  <a:schemeClr val="bg1"/>
                </a:solidFill>
                <a:effectLst/>
                <a:uLnTx/>
                <a:uFillTx/>
                <a:latin typeface="+mn-lt"/>
                <a:ea typeface="+mn-ea"/>
                <a:cs typeface="+mn-cs"/>
              </a:rPr>
              <a:t>)</a:t>
            </a:r>
            <a:endParaRPr kumimoji="1" lang="ja-JP" altLang="en-US" sz="1200" b="1" i="0" u="none" strike="noStrike" kern="1200" cap="none" spc="0" normalizeH="0" baseline="0" noProof="0">
              <a:ln>
                <a:noFill/>
              </a:ln>
              <a:solidFill>
                <a:schemeClr val="bg1"/>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13BB6BF8-3906-431C-A1B3-B8BCC0112BB7}"/>
              </a:ext>
            </a:extLst>
          </p:cNvPr>
          <p:cNvSpPr/>
          <p:nvPr/>
        </p:nvSpPr>
        <p:spPr bwMode="gray">
          <a:xfrm>
            <a:off x="1787120" y="441079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a:solidFill>
                  <a:prstClr val="black"/>
                </a:solidFill>
                <a:latin typeface="+mn-lt"/>
                <a:cs typeface="+mn-cs"/>
              </a:rPr>
              <a:t>例）ユースケース実現に向けた地元店舗との協力体制構築</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2D5E6E76-8C98-4702-8B35-5D6D3AB57EC1}"/>
              </a:ext>
            </a:extLst>
          </p:cNvPr>
          <p:cNvSpPr/>
          <p:nvPr/>
        </p:nvSpPr>
        <p:spPr bwMode="gray">
          <a:xfrm>
            <a:off x="1787120" y="534922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sp>
        <p:nvSpPr>
          <p:cNvPr id="28" name="正方形/長方形 27">
            <a:extLst>
              <a:ext uri="{FF2B5EF4-FFF2-40B4-BE49-F238E27FC236}">
                <a16:creationId xmlns:a16="http://schemas.microsoft.com/office/drawing/2014/main" id="{B39336B4-C842-45A7-9C89-B9815D09BD5C}"/>
              </a:ext>
            </a:extLst>
          </p:cNvPr>
          <p:cNvSpPr/>
          <p:nvPr/>
        </p:nvSpPr>
        <p:spPr bwMode="gray">
          <a:xfrm>
            <a:off x="5674864" y="441079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ja-JP" altLang="en-US" sz="1200">
                <a:solidFill>
                  <a:prstClr val="black"/>
                </a:solidFill>
                <a:latin typeface="+mn-lt"/>
                <a:cs typeface="+mn-cs"/>
              </a:rPr>
              <a:t>例）来年度、今年度の成果をもとに地元企業への成果訴求を行う場をコンソーシアムにおいて設けてもらい、地元店舗へのメリットを訴求することで協力を得る</a:t>
            </a:r>
            <a:endParaRPr kumimoji="1" lang="en-US" altLang="ja-JP"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2A80B523-B37A-4060-A519-2137C0505814}"/>
              </a:ext>
            </a:extLst>
          </p:cNvPr>
          <p:cNvSpPr/>
          <p:nvPr/>
        </p:nvSpPr>
        <p:spPr bwMode="gray">
          <a:xfrm>
            <a:off x="5674864" y="5349227"/>
            <a:ext cx="3819830" cy="864000"/>
          </a:xfrm>
          <a:prstGeom prst="rect">
            <a:avLst/>
          </a:prstGeom>
          <a:solidFill>
            <a:schemeClr val="bg1"/>
          </a:solid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28600" indent="-228600" defTabSz="990564" fontAlgn="auto">
              <a:spcBef>
                <a:spcPts val="0"/>
              </a:spcBef>
              <a:spcAft>
                <a:spcPts val="0"/>
              </a:spcAft>
              <a:buSzPct val="100000"/>
              <a:buFont typeface="+mj-ea"/>
              <a:buAutoNum type="circleNumDbPlain"/>
            </a:pPr>
            <a:r>
              <a:rPr kumimoji="1" lang="en-US" altLang="ja-JP" sz="1200" b="0" i="0" u="none" strike="noStrike" kern="1200" cap="none" spc="0" normalizeH="0" baseline="0" noProof="0">
                <a:ln>
                  <a:noFill/>
                </a:ln>
                <a:solidFill>
                  <a:prstClr val="black"/>
                </a:solidFill>
                <a:effectLst/>
                <a:uLnTx/>
                <a:uFillTx/>
                <a:latin typeface="+mn-lt"/>
                <a:ea typeface="+mn-ea"/>
                <a:cs typeface="+mn-cs"/>
              </a:rPr>
              <a:t>XXX</a:t>
            </a:r>
          </a:p>
        </p:txBody>
      </p:sp>
      <p:sp>
        <p:nvSpPr>
          <p:cNvPr id="30" name="テキスト ボックス 29">
            <a:extLst>
              <a:ext uri="{FF2B5EF4-FFF2-40B4-BE49-F238E27FC236}">
                <a16:creationId xmlns:a16="http://schemas.microsoft.com/office/drawing/2014/main" id="{055B05BB-6523-401F-A09E-02DBD5B41236}"/>
              </a:ext>
            </a:extLst>
          </p:cNvPr>
          <p:cNvSpPr txBox="1"/>
          <p:nvPr/>
        </p:nvSpPr>
        <p:spPr>
          <a:xfrm rot="20118198">
            <a:off x="3451782" y="3890481"/>
            <a:ext cx="3395481" cy="331761"/>
          </a:xfrm>
          <a:prstGeom prst="rect">
            <a:avLst/>
          </a:prstGeom>
          <a:noFill/>
          <a:ln w="12700">
            <a:noFill/>
          </a:ln>
        </p:spPr>
        <p:txBody>
          <a:bodyPr wrap="square" lIns="51429" tIns="51429" rIns="51429" bIns="51429" rtlCol="0" anchor="ctr" anchorCtr="0">
            <a:noAutofit/>
          </a:bodyPr>
          <a:lstStyle/>
          <a:p>
            <a:pPr algn="ctr"/>
            <a:r>
              <a:rPr kumimoji="1" lang="en-US" altLang="ja-JP" sz="2400" b="1">
                <a:solidFill>
                  <a:srgbClr val="C00000"/>
                </a:solidFill>
                <a:latin typeface="Arial" panose="020B0604020202020204" pitchFamily="34" charset="0"/>
                <a:cs typeface="Arial" panose="020B0604020202020204" pitchFamily="34" charset="0"/>
              </a:rPr>
              <a:t>Sample</a:t>
            </a:r>
            <a:endParaRPr kumimoji="1" lang="ja-JP" altLang="en-US" sz="2400" b="1">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66287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F4102EA-8570-4C53-9D9B-51C8D95C0B0B}"/>
              </a:ext>
            </a:extLst>
          </p:cNvPr>
          <p:cNvGraphicFramePr>
            <a:graphicFrameLocks noChangeAspect="1"/>
          </p:cNvGraphicFramePr>
          <p:nvPr>
            <p:custDataLst>
              <p:tags r:id="rId1"/>
            </p:custDataLst>
            <p:extLst>
              <p:ext uri="{D42A27DB-BD31-4B8C-83A1-F6EECF244321}">
                <p14:modId xmlns:p14="http://schemas.microsoft.com/office/powerpoint/2010/main" val="1068903896"/>
              </p:ext>
            </p:extLst>
          </p:nvPr>
        </p:nvGraphicFramePr>
        <p:xfrm>
          <a:off x="382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51" imgH="226" progId="TCLayout.ActiveDocument.1">
                  <p:embed/>
                </p:oleObj>
              </mc:Choice>
              <mc:Fallback>
                <p:oleObj name="think-cell スライド" r:id="rId4" imgW="251" imgH="226" progId="TCLayout.ActiveDocument.1">
                  <p:embed/>
                  <p:pic>
                    <p:nvPicPr>
                      <p:cNvPr id="3" name="オブジェクト 2" hidden="1">
                        <a:extLst>
                          <a:ext uri="{FF2B5EF4-FFF2-40B4-BE49-F238E27FC236}">
                            <a16:creationId xmlns:a16="http://schemas.microsoft.com/office/drawing/2014/main" id="{1F4102EA-8570-4C53-9D9B-51C8D95C0B0B}"/>
                          </a:ext>
                        </a:extLst>
                      </p:cNvPr>
                      <p:cNvPicPr/>
                      <p:nvPr/>
                    </p:nvPicPr>
                    <p:blipFill>
                      <a:blip r:embed="rId5"/>
                      <a:stretch>
                        <a:fillRect/>
                      </a:stretch>
                    </p:blipFill>
                    <p:spPr>
                      <a:xfrm>
                        <a:off x="382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888A98E-FAF8-40E9-B861-89D5ABF34966}"/>
              </a:ext>
            </a:extLst>
          </p:cNvPr>
          <p:cNvSpPr>
            <a:spLocks noGrp="1"/>
          </p:cNvSpPr>
          <p:nvPr>
            <p:ph type="body" sz="quarter" idx="16"/>
          </p:nvPr>
        </p:nvSpPr>
        <p:spPr>
          <a:xfrm>
            <a:off x="415925" y="152400"/>
            <a:ext cx="9072000" cy="360000"/>
          </a:xfrm>
        </p:spPr>
        <p:txBody>
          <a:bodyPr/>
          <a:lstStyle/>
          <a:p>
            <a:r>
              <a:rPr lang="en-US" altLang="ja-JP">
                <a:latin typeface="Yu Gothic UI" panose="020B0500000000000000" pitchFamily="50" charset="-128"/>
                <a:ea typeface="Yu Gothic UI" panose="020B0500000000000000" pitchFamily="50" charset="-128"/>
                <a:sym typeface="Yu Gothic UI" panose="020B0500000000000000" pitchFamily="50" charset="-128"/>
              </a:rPr>
              <a:t>4. </a:t>
            </a:r>
            <a:r>
              <a:rPr lang="ja-JP" altLang="en-US">
                <a:latin typeface="Yu Gothic UI" panose="020B0500000000000000" pitchFamily="50" charset="-128"/>
                <a:ea typeface="Yu Gothic UI" panose="020B0500000000000000" pitchFamily="50" charset="-128"/>
                <a:sym typeface="Yu Gothic UI" panose="020B0500000000000000" pitchFamily="50" charset="-128"/>
              </a:rPr>
              <a:t>都市実装に向け認識している課題とその解決方針</a:t>
            </a:r>
          </a:p>
        </p:txBody>
      </p:sp>
      <p:sp>
        <p:nvSpPr>
          <p:cNvPr id="8" name="正方形/長方形 7">
            <a:extLst>
              <a:ext uri="{FF2B5EF4-FFF2-40B4-BE49-F238E27FC236}">
                <a16:creationId xmlns:a16="http://schemas.microsoft.com/office/drawing/2014/main" id="{EF6218F6-959A-4559-B935-011209810466}"/>
              </a:ext>
            </a:extLst>
          </p:cNvPr>
          <p:cNvSpPr/>
          <p:nvPr/>
        </p:nvSpPr>
        <p:spPr>
          <a:xfrm>
            <a:off x="415925" y="612167"/>
            <a:ext cx="9072000" cy="151341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都市実装に向けて認識している課題と分科会活動単位での解決方針を基に、</a:t>
            </a:r>
            <a:r>
              <a:rPr kumimoji="1" lang="en-US" altLang="ja-JP"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2</a:t>
            </a:r>
            <a:r>
              <a:rPr kumimoji="1" lang="ja-JP" altLang="en-US" sz="1292" b="1" u="sng">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か年中に分科会内で実施する個別プロジェクト単位で</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解決する課題を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a:p>
            <a:pPr marL="188415" indent="-188415">
              <a:spcBef>
                <a:spcPts val="396"/>
              </a:spcBef>
              <a:buFont typeface="Wingdings" panose="05000000000000000000" pitchFamily="2" charset="2"/>
              <a:buChar char="l"/>
            </a:pP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また、その他活動</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PJ</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外活動</a:t>
            </a:r>
            <a:r>
              <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a:t>
            </a:r>
            <a:r>
              <a:rPr kumimoji="1" lang="ja-JP" altLang="en-US"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rPr>
              <a:t>での実施事項も記載してください</a:t>
            </a:r>
            <a:endParaRPr kumimoji="1" lang="en-US" altLang="ja-JP" sz="1292">
              <a:solidFill>
                <a:schemeClr val="tx1"/>
              </a:solidFill>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5" name="スライド番号プレースホルダー 3">
            <a:extLst>
              <a:ext uri="{FF2B5EF4-FFF2-40B4-BE49-F238E27FC236}">
                <a16:creationId xmlns:a16="http://schemas.microsoft.com/office/drawing/2014/main" id="{A5E3BDFA-97E1-4143-A290-5878289A261F}"/>
              </a:ext>
            </a:extLst>
          </p:cNvPr>
          <p:cNvSpPr>
            <a:spLocks noGrp="1"/>
          </p:cNvSpPr>
          <p:nvPr>
            <p:ph type="sldNum" sz="quarter" idx="4"/>
          </p:nvPr>
        </p:nvSpPr>
        <p:spPr>
          <a:xfrm>
            <a:off x="8974914" y="6592830"/>
            <a:ext cx="166154" cy="180000"/>
          </a:xfrm>
        </p:spPr>
        <p:txBody>
          <a:bodyPr/>
          <a:lstStyle/>
          <a:p>
            <a:fld id="{AA5FCFE5-FE56-4EF1-80A8-07776887C2A1}" type="slidenum">
              <a:rPr kumimoji="1" lang="ja-JP" altLang="en-US" smtClean="0">
                <a:latin typeface="Yu Gothic UI" panose="020B0500000000000000" pitchFamily="50" charset="-128"/>
                <a:ea typeface="Yu Gothic UI" panose="020B0500000000000000" pitchFamily="50" charset="-128"/>
                <a:sym typeface="Yu Gothic UI" panose="020B0500000000000000" pitchFamily="50" charset="-128"/>
              </a:rPr>
              <a:pPr/>
              <a:t>8</a:t>
            </a:fld>
            <a:endParaRPr kumimoji="1" lang="ja-JP" altLang="en-US">
              <a:latin typeface="Yu Gothic UI" panose="020B0500000000000000" pitchFamily="50" charset="-128"/>
              <a:ea typeface="Yu Gothic UI" panose="020B0500000000000000" pitchFamily="50" charset="-128"/>
              <a:sym typeface="Yu Gothic UI" panose="020B0500000000000000" pitchFamily="50" charset="-128"/>
            </a:endParaRPr>
          </a:p>
        </p:txBody>
      </p:sp>
      <p:sp>
        <p:nvSpPr>
          <p:cNvPr id="20" name="正方形/長方形 19">
            <a:extLst>
              <a:ext uri="{FF2B5EF4-FFF2-40B4-BE49-F238E27FC236}">
                <a16:creationId xmlns:a16="http://schemas.microsoft.com/office/drawing/2014/main" id="{8778DE57-7CCD-4787-89F0-4A0D8AE38AB0}"/>
              </a:ext>
            </a:extLst>
          </p:cNvPr>
          <p:cNvSpPr/>
          <p:nvPr/>
        </p:nvSpPr>
        <p:spPr bwMode="gray">
          <a:xfrm>
            <a:off x="415925" y="5790780"/>
            <a:ext cx="903855" cy="517945"/>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schemeClr val="bg1"/>
                </a:solidFill>
                <a:latin typeface="+mn-lt"/>
                <a:cs typeface="+mn-cs"/>
              </a:rPr>
              <a:t>その他活動</a:t>
            </a:r>
            <a:endParaRPr kumimoji="1" lang="en-US" altLang="ja-JP" sz="1200" b="1">
              <a:solidFill>
                <a:schemeClr val="bg1"/>
              </a:solidFill>
              <a:latin typeface="+mn-lt"/>
              <a:cs typeface="+mn-cs"/>
            </a:endParaRPr>
          </a:p>
        </p:txBody>
      </p:sp>
      <p:sp>
        <p:nvSpPr>
          <p:cNvPr id="21" name="Rectangle 18">
            <a:extLst>
              <a:ext uri="{FF2B5EF4-FFF2-40B4-BE49-F238E27FC236}">
                <a16:creationId xmlns:a16="http://schemas.microsoft.com/office/drawing/2014/main" id="{1712F9CD-808C-4720-B8C1-AA0AE7132D24}"/>
              </a:ext>
            </a:extLst>
          </p:cNvPr>
          <p:cNvSpPr>
            <a:spLocks noChangeArrowheads="1"/>
          </p:cNvSpPr>
          <p:nvPr/>
        </p:nvSpPr>
        <p:spPr bwMode="gray">
          <a:xfrm>
            <a:off x="1418096" y="5790780"/>
            <a:ext cx="8071976" cy="517945"/>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実施事項</a:t>
            </a:r>
            <a:br>
              <a:rPr lang="en-US" altLang="ja-JP" sz="1200">
                <a:latin typeface="Yu Gothic UI" panose="020B0500000000000000" pitchFamily="50" charset="-128"/>
                <a:ea typeface="Yu Gothic UI" panose="020B0500000000000000" pitchFamily="50" charset="-128"/>
              </a:rPr>
            </a:br>
            <a:r>
              <a:rPr lang="ja-JP" altLang="en-US" sz="1200">
                <a:latin typeface="Yu Gothic UI" panose="020B0500000000000000" pitchFamily="50" charset="-128"/>
                <a:ea typeface="Yu Gothic UI" panose="020B0500000000000000" pitchFamily="50" charset="-128"/>
              </a:rPr>
              <a:t>情報交換会を</a:t>
            </a:r>
            <a:r>
              <a:rPr lang="en-US" altLang="ja-JP" sz="1200">
                <a:latin typeface="Yu Gothic UI" panose="020B0500000000000000" pitchFamily="50" charset="-128"/>
                <a:ea typeface="Yu Gothic UI" panose="020B0500000000000000" pitchFamily="50" charset="-128"/>
              </a:rPr>
              <a:t>2</a:t>
            </a:r>
            <a:r>
              <a:rPr lang="ja-JP" altLang="en-US" sz="1200">
                <a:latin typeface="Yu Gothic UI" panose="020B0500000000000000" pitchFamily="50" charset="-128"/>
                <a:ea typeface="Yu Gothic UI" panose="020B0500000000000000" pitchFamily="50" charset="-128"/>
              </a:rPr>
              <a:t>回程度実施</a:t>
            </a:r>
            <a:endParaRPr lang="en-US" altLang="ja-JP" sz="1200">
              <a:latin typeface="Yu Gothic UI" panose="020B0500000000000000" pitchFamily="50" charset="-128"/>
              <a:ea typeface="Yu Gothic UI" panose="020B0500000000000000" pitchFamily="50" charset="-128"/>
            </a:endParaRPr>
          </a:p>
        </p:txBody>
      </p:sp>
      <p:sp>
        <p:nvSpPr>
          <p:cNvPr id="23" name="正方形/長方形 22">
            <a:extLst>
              <a:ext uri="{FF2B5EF4-FFF2-40B4-BE49-F238E27FC236}">
                <a16:creationId xmlns:a16="http://schemas.microsoft.com/office/drawing/2014/main" id="{3C3B8C38-178A-4276-A127-060D5E006555}"/>
              </a:ext>
            </a:extLst>
          </p:cNvPr>
          <p:cNvSpPr/>
          <p:nvPr/>
        </p:nvSpPr>
        <p:spPr bwMode="gray">
          <a:xfrm>
            <a:off x="1179095" y="2276419"/>
            <a:ext cx="827837" cy="956972"/>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リーダー</a:t>
            </a:r>
            <a:r>
              <a:rPr kumimoji="1" lang="en-US" altLang="ja-JP" sz="1100" b="1">
                <a:latin typeface="+mn-lt"/>
                <a:cs typeface="+mn-cs"/>
              </a:rPr>
              <a:t>PJ</a:t>
            </a:r>
          </a:p>
        </p:txBody>
      </p:sp>
      <p:sp>
        <p:nvSpPr>
          <p:cNvPr id="24" name="正方形/長方形 23">
            <a:extLst>
              <a:ext uri="{FF2B5EF4-FFF2-40B4-BE49-F238E27FC236}">
                <a16:creationId xmlns:a16="http://schemas.microsoft.com/office/drawing/2014/main" id="{F1F91831-2675-4332-B043-4A72461106AA}"/>
              </a:ext>
            </a:extLst>
          </p:cNvPr>
          <p:cNvSpPr/>
          <p:nvPr/>
        </p:nvSpPr>
        <p:spPr bwMode="gray">
          <a:xfrm>
            <a:off x="1179095" y="3309877"/>
            <a:ext cx="827837" cy="956972"/>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a:latin typeface="+mn-lt"/>
                <a:cs typeface="+mn-cs"/>
              </a:rPr>
              <a:t>構成員</a:t>
            </a:r>
            <a:r>
              <a:rPr kumimoji="1" lang="en-US" altLang="ja-JP" sz="1100" b="1">
                <a:latin typeface="+mn-lt"/>
                <a:cs typeface="+mn-cs"/>
              </a:rPr>
              <a:t>PJ</a:t>
            </a:r>
            <a:r>
              <a:rPr kumimoji="1" lang="ja-JP" altLang="en-US" sz="1100" b="1">
                <a:latin typeface="+mn-lt"/>
                <a:cs typeface="+mn-cs"/>
              </a:rPr>
              <a:t> </a:t>
            </a:r>
            <a:r>
              <a:rPr kumimoji="1" lang="en-US" altLang="ja-JP" sz="1100" b="1">
                <a:latin typeface="+mn-lt"/>
                <a:cs typeface="+mn-cs"/>
              </a:rPr>
              <a:t>A</a:t>
            </a:r>
            <a:endParaRPr kumimoji="1" lang="en-US" altLang="ja-JP" sz="1200" b="1">
              <a:latin typeface="+mn-lt"/>
              <a:cs typeface="+mn-cs"/>
            </a:endParaRPr>
          </a:p>
        </p:txBody>
      </p:sp>
      <p:sp>
        <p:nvSpPr>
          <p:cNvPr id="25" name="正方形/長方形 24">
            <a:extLst>
              <a:ext uri="{FF2B5EF4-FFF2-40B4-BE49-F238E27FC236}">
                <a16:creationId xmlns:a16="http://schemas.microsoft.com/office/drawing/2014/main" id="{0532AA17-9135-4DB9-B973-6DD1ECD829F7}"/>
              </a:ext>
            </a:extLst>
          </p:cNvPr>
          <p:cNvSpPr/>
          <p:nvPr/>
        </p:nvSpPr>
        <p:spPr bwMode="gray">
          <a:xfrm>
            <a:off x="1179095" y="4343334"/>
            <a:ext cx="827837" cy="956972"/>
          </a:xfrm>
          <a:prstGeom prst="rect">
            <a:avLst/>
          </a:prstGeom>
          <a:solidFill>
            <a:schemeClr val="bg2"/>
          </a:solidFill>
          <a:ln w="12700" algn="ctr">
            <a:solidFill>
              <a:schemeClr val="bg2"/>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b="1" i="0" u="none" strike="noStrike" kern="1200" cap="none" spc="0" normalizeH="0" baseline="0" noProof="0">
                <a:ln>
                  <a:noFill/>
                </a:ln>
                <a:solidFill>
                  <a:prstClr val="black"/>
                </a:solidFill>
                <a:effectLst/>
                <a:uLnTx/>
                <a:uFillTx/>
                <a:latin typeface="Open Sans"/>
                <a:ea typeface="Yu Gothic UI"/>
                <a:cs typeface="Arial" charset="0"/>
              </a:rPr>
              <a:t>構成員</a:t>
            </a:r>
            <a:r>
              <a:rPr kumimoji="1" lang="en-US" altLang="ja-JP" sz="1100" b="1" i="0" u="none" strike="noStrike" kern="1200" cap="none" spc="0" normalizeH="0" baseline="0" noProof="0">
                <a:ln>
                  <a:noFill/>
                </a:ln>
                <a:solidFill>
                  <a:prstClr val="black"/>
                </a:solidFill>
                <a:effectLst/>
                <a:uLnTx/>
                <a:uFillTx/>
                <a:latin typeface="Open Sans"/>
                <a:ea typeface="Yu Gothic UI"/>
                <a:cs typeface="Arial" charset="0"/>
              </a:rPr>
              <a:t>PJ</a:t>
            </a:r>
            <a:r>
              <a:rPr kumimoji="1" lang="ja-JP" altLang="en-US" sz="1100" b="1" i="0" u="none" strike="noStrike" kern="1200" cap="none" spc="0" normalizeH="0" baseline="0" noProof="0">
                <a:ln>
                  <a:noFill/>
                </a:ln>
                <a:solidFill>
                  <a:prstClr val="black"/>
                </a:solidFill>
                <a:effectLst/>
                <a:uLnTx/>
                <a:uFillTx/>
                <a:latin typeface="Open Sans"/>
                <a:ea typeface="Yu Gothic UI"/>
                <a:cs typeface="Arial" charset="0"/>
              </a:rPr>
              <a:t> </a:t>
            </a:r>
            <a:r>
              <a:rPr kumimoji="1" lang="en-US" altLang="ja-JP" sz="1100" b="1">
                <a:solidFill>
                  <a:prstClr val="black"/>
                </a:solidFill>
                <a:latin typeface="Open Sans"/>
                <a:ea typeface="Yu Gothic UI"/>
              </a:rPr>
              <a:t>B</a:t>
            </a:r>
            <a:endParaRPr kumimoji="1" lang="en-US" altLang="ja-JP" sz="1200" b="1">
              <a:latin typeface="+mn-lt"/>
              <a:cs typeface="+mn-cs"/>
            </a:endParaRPr>
          </a:p>
        </p:txBody>
      </p:sp>
      <p:sp>
        <p:nvSpPr>
          <p:cNvPr id="26" name="Rectangle 18">
            <a:extLst>
              <a:ext uri="{FF2B5EF4-FFF2-40B4-BE49-F238E27FC236}">
                <a16:creationId xmlns:a16="http://schemas.microsoft.com/office/drawing/2014/main" id="{E84F4300-0259-4369-91BF-D0AE43E41366}"/>
              </a:ext>
            </a:extLst>
          </p:cNvPr>
          <p:cNvSpPr>
            <a:spLocks noChangeArrowheads="1"/>
          </p:cNvSpPr>
          <p:nvPr/>
        </p:nvSpPr>
        <p:spPr bwMode="gray">
          <a:xfrm>
            <a:off x="2096980" y="2276419"/>
            <a:ext cx="7393092" cy="956972"/>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ビジネス的課題</a:t>
            </a:r>
            <a:endParaRPr lang="en-US" altLang="ja-JP" sz="1200">
              <a:latin typeface="Yu Gothic UI" panose="020B0500000000000000" pitchFamily="50" charset="-128"/>
              <a:ea typeface="Yu Gothic UI" panose="020B0500000000000000" pitchFamily="50" charset="-128"/>
            </a:endParaRPr>
          </a:p>
          <a:p>
            <a:pPr marL="360363" lvl="2" indent="-214313">
              <a:lnSpc>
                <a:spcPct val="106000"/>
              </a:lnSpc>
              <a:spcBef>
                <a:spcPts val="214"/>
              </a:spcBef>
              <a:buClr>
                <a:schemeClr val="tx1"/>
              </a:buClr>
              <a:buFont typeface="Wingdings" panose="05000000000000000000" pitchFamily="2" charset="2"/>
              <a:buChar char="ü"/>
            </a:pPr>
            <a:r>
              <a:rPr lang="en-US" altLang="ja-JP" sz="1200">
                <a:latin typeface="Yu Gothic UI" panose="020B0500000000000000" pitchFamily="50" charset="-128"/>
                <a:ea typeface="Yu Gothic UI" panose="020B0500000000000000" pitchFamily="50" charset="-128"/>
              </a:rPr>
              <a:t>XXXXXXXXXX</a:t>
            </a:r>
          </a:p>
        </p:txBody>
      </p:sp>
      <p:sp>
        <p:nvSpPr>
          <p:cNvPr id="27" name="Rectangle 18">
            <a:extLst>
              <a:ext uri="{FF2B5EF4-FFF2-40B4-BE49-F238E27FC236}">
                <a16:creationId xmlns:a16="http://schemas.microsoft.com/office/drawing/2014/main" id="{8155FA98-FF90-46BA-A2AA-49CB1E95F669}"/>
              </a:ext>
            </a:extLst>
          </p:cNvPr>
          <p:cNvSpPr>
            <a:spLocks noChangeArrowheads="1"/>
          </p:cNvSpPr>
          <p:nvPr/>
        </p:nvSpPr>
        <p:spPr bwMode="gray">
          <a:xfrm>
            <a:off x="2096980" y="4343334"/>
            <a:ext cx="7393092" cy="956972"/>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en-US" altLang="ja-JP" sz="1200">
                <a:latin typeface="Yu Gothic UI" panose="020B0500000000000000" pitchFamily="50" charset="-128"/>
                <a:ea typeface="Yu Gothic UI" panose="020B0500000000000000" pitchFamily="50" charset="-128"/>
              </a:rPr>
              <a:t>XX</a:t>
            </a:r>
            <a:r>
              <a:rPr lang="ja-JP" altLang="en-US" sz="1200">
                <a:latin typeface="Yu Gothic UI" panose="020B0500000000000000" pitchFamily="50" charset="-128"/>
                <a:ea typeface="Yu Gothic UI" panose="020B0500000000000000" pitchFamily="50" charset="-128"/>
              </a:rPr>
              <a:t>的課題</a:t>
            </a:r>
            <a:endParaRPr lang="en-US" altLang="ja-JP" sz="1200">
              <a:latin typeface="Yu Gothic UI" panose="020B0500000000000000" pitchFamily="50" charset="-128"/>
              <a:ea typeface="Yu Gothic UI" panose="020B0500000000000000" pitchFamily="50" charset="-128"/>
            </a:endParaRPr>
          </a:p>
          <a:p>
            <a:pPr marL="360363" lvl="2" indent="-214313">
              <a:lnSpc>
                <a:spcPct val="106000"/>
              </a:lnSpc>
              <a:spcBef>
                <a:spcPts val="214"/>
              </a:spcBef>
              <a:buClr>
                <a:schemeClr val="tx1"/>
              </a:buClr>
              <a:buFont typeface="Wingdings" panose="05000000000000000000" pitchFamily="2" charset="2"/>
              <a:buChar char="ü"/>
            </a:pPr>
            <a:r>
              <a:rPr lang="en-US" altLang="ja-JP" sz="1200">
                <a:latin typeface="Yu Gothic UI" panose="020B0500000000000000" pitchFamily="50" charset="-128"/>
                <a:ea typeface="Yu Gothic UI" panose="020B0500000000000000" pitchFamily="50" charset="-128"/>
              </a:rPr>
              <a:t>XXXXXXXXXX</a:t>
            </a:r>
          </a:p>
        </p:txBody>
      </p:sp>
      <p:sp>
        <p:nvSpPr>
          <p:cNvPr id="28" name="Rectangle 18">
            <a:extLst>
              <a:ext uri="{FF2B5EF4-FFF2-40B4-BE49-F238E27FC236}">
                <a16:creationId xmlns:a16="http://schemas.microsoft.com/office/drawing/2014/main" id="{3C94D320-BD0E-4BC2-87DC-99E341DB425F}"/>
              </a:ext>
            </a:extLst>
          </p:cNvPr>
          <p:cNvSpPr>
            <a:spLocks noChangeArrowheads="1"/>
          </p:cNvSpPr>
          <p:nvPr/>
        </p:nvSpPr>
        <p:spPr bwMode="gray">
          <a:xfrm>
            <a:off x="2096979" y="3312939"/>
            <a:ext cx="7393093" cy="956972"/>
          </a:xfrm>
          <a:prstGeom prst="rect">
            <a:avLst/>
          </a:prstGeom>
          <a:noFill/>
          <a:ln w="12700" algn="ctr">
            <a:solidFill>
              <a:schemeClr val="tx2"/>
            </a:solidFill>
            <a:miter lim="800000"/>
            <a:headEnd/>
            <a:tailEnd/>
          </a:ln>
        </p:spPr>
        <p:txBody>
          <a:bodyPr lIns="51429" tIns="51429" rIns="51429" bIns="51429"/>
          <a:lstStyle/>
          <a:p>
            <a:pPr marL="121333" lvl="1" indent="-120199">
              <a:lnSpc>
                <a:spcPct val="106000"/>
              </a:lnSpc>
              <a:spcBef>
                <a:spcPts val="214"/>
              </a:spcBef>
              <a:buClr>
                <a:schemeClr val="tx1"/>
              </a:buClr>
              <a:buFont typeface="Wingdings" pitchFamily="2" charset="2"/>
              <a:buChar char="n"/>
            </a:pPr>
            <a:r>
              <a:rPr lang="ja-JP" altLang="en-US" sz="1200">
                <a:latin typeface="Yu Gothic UI" panose="020B0500000000000000" pitchFamily="50" charset="-128"/>
                <a:ea typeface="Yu Gothic UI" panose="020B0500000000000000" pitchFamily="50" charset="-128"/>
              </a:rPr>
              <a:t>技術的課題</a:t>
            </a:r>
            <a:endParaRPr lang="en-US" altLang="ja-JP" sz="1200">
              <a:latin typeface="Yu Gothic UI" panose="020B0500000000000000" pitchFamily="50" charset="-128"/>
              <a:ea typeface="Yu Gothic UI" panose="020B0500000000000000" pitchFamily="50" charset="-128"/>
            </a:endParaRPr>
          </a:p>
          <a:p>
            <a:pPr marL="360363" lvl="2" indent="-214313">
              <a:lnSpc>
                <a:spcPct val="106000"/>
              </a:lnSpc>
              <a:spcBef>
                <a:spcPts val="214"/>
              </a:spcBef>
              <a:buClr>
                <a:schemeClr val="tx1"/>
              </a:buClr>
              <a:buFont typeface="Wingdings" panose="05000000000000000000" pitchFamily="2" charset="2"/>
              <a:buChar char="ü"/>
            </a:pPr>
            <a:r>
              <a:rPr lang="en-US" altLang="ja-JP" sz="1200">
                <a:latin typeface="Yu Gothic UI" panose="020B0500000000000000" pitchFamily="50" charset="-128"/>
                <a:ea typeface="Yu Gothic UI" panose="020B0500000000000000" pitchFamily="50" charset="-128"/>
              </a:rPr>
              <a:t>XXXXXXXXXX</a:t>
            </a:r>
          </a:p>
        </p:txBody>
      </p:sp>
      <p:sp>
        <p:nvSpPr>
          <p:cNvPr id="29" name="正方形/長方形 28">
            <a:extLst>
              <a:ext uri="{FF2B5EF4-FFF2-40B4-BE49-F238E27FC236}">
                <a16:creationId xmlns:a16="http://schemas.microsoft.com/office/drawing/2014/main" id="{F8BEE10C-E7FB-4C6A-93AD-A60C6C16E6DC}"/>
              </a:ext>
            </a:extLst>
          </p:cNvPr>
          <p:cNvSpPr/>
          <p:nvPr/>
        </p:nvSpPr>
        <p:spPr>
          <a:xfrm>
            <a:off x="383932" y="5539123"/>
            <a:ext cx="4389682" cy="18157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3231" tIns="33231" rIns="33231" bIns="42203" numCol="1" spcCol="0" rtlCol="0" fromWordArt="0" anchor="ctr" anchorCtr="0" forceAA="0" compatLnSpc="1">
            <a:prstTxWarp prst="textNoShape">
              <a:avLst/>
            </a:prstTxWarp>
            <a:noAutofit/>
          </a:bodyPr>
          <a:lstStyle/>
          <a:p>
            <a:r>
              <a:rPr kumimoji="1" lang="ja-JP" altLang="en-US" sz="1292" b="1">
                <a:solidFill>
                  <a:schemeClr val="tx2"/>
                </a:solidFill>
                <a:latin typeface="Yu Gothic UI" panose="020B0500000000000000" pitchFamily="50" charset="-128"/>
                <a:ea typeface="Yu Gothic UI" panose="020B0500000000000000" pitchFamily="50" charset="-128"/>
                <a:sym typeface="Yu Gothic UI" panose="020B0500000000000000" pitchFamily="50" charset="-128"/>
              </a:rPr>
              <a:t>その他活動の実施事項</a:t>
            </a:r>
          </a:p>
        </p:txBody>
      </p:sp>
      <p:sp>
        <p:nvSpPr>
          <p:cNvPr id="30" name="正方形/長方形 29">
            <a:extLst>
              <a:ext uri="{FF2B5EF4-FFF2-40B4-BE49-F238E27FC236}">
                <a16:creationId xmlns:a16="http://schemas.microsoft.com/office/drawing/2014/main" id="{76B3E5C2-89D1-4BBA-850A-7DC9559227EB}"/>
              </a:ext>
            </a:extLst>
          </p:cNvPr>
          <p:cNvSpPr/>
          <p:nvPr/>
        </p:nvSpPr>
        <p:spPr bwMode="gray">
          <a:xfrm>
            <a:off x="415926" y="2276418"/>
            <a:ext cx="650874" cy="3023888"/>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schemeClr val="bg1"/>
                </a:solidFill>
                <a:latin typeface="+mn-lt"/>
                <a:cs typeface="+mn-cs"/>
              </a:rPr>
              <a:t>都市実装</a:t>
            </a:r>
            <a:endParaRPr kumimoji="1" lang="en-US" altLang="ja-JP" sz="1200" b="1">
              <a:solidFill>
                <a:schemeClr val="bg1"/>
              </a:solidFill>
              <a:latin typeface="+mn-lt"/>
              <a:cs typeface="+mn-cs"/>
            </a:endParaRPr>
          </a:p>
          <a:p>
            <a:pPr algn="ctr" defTabSz="990564" fontAlgn="auto">
              <a:spcBef>
                <a:spcPts val="0"/>
              </a:spcBef>
              <a:spcAft>
                <a:spcPts val="0"/>
              </a:spcAft>
              <a:buSzPct val="100000"/>
            </a:pPr>
            <a:r>
              <a:rPr kumimoji="1" lang="en-US" altLang="ja-JP" sz="1200" b="1">
                <a:solidFill>
                  <a:schemeClr val="bg1"/>
                </a:solidFill>
                <a:latin typeface="+mn-lt"/>
                <a:cs typeface="+mn-cs"/>
              </a:rPr>
              <a:t>PJ</a:t>
            </a:r>
          </a:p>
        </p:txBody>
      </p:sp>
    </p:spTree>
    <p:extLst>
      <p:ext uri="{BB962C8B-B14F-4D97-AF65-F5344CB8AC3E}">
        <p14:creationId xmlns:p14="http://schemas.microsoft.com/office/powerpoint/2010/main" val="820038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2007">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1">
      <a:majorFont>
        <a:latin typeface="Open Sans Semibold"/>
        <a:ea typeface="Yu Gothic UI"/>
        <a:cs typeface=""/>
      </a:majorFont>
      <a:minorFont>
        <a:latin typeface="Open Sans"/>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01_1_DTC_ Proposal Template_J_Confidential.potx[読み取り専用]" id="{DA2DE750-1EA7-46A8-BAA3-61A3442FD165}" vid="{33AD631B-B254-4145-A572-23C9F639475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83d32f4-ec49-44a5-af86-c22e26b8baa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E4C27B1B1ACD88468FD3E37DEC4DB111" ma:contentTypeVersion="12" ma:contentTypeDescription="新しいドキュメントを作成します。" ma:contentTypeScope="" ma:versionID="8642d9dc07dd23768df1ebe065f813f8">
  <xsd:schema xmlns:xsd="http://www.w3.org/2001/XMLSchema" xmlns:xs="http://www.w3.org/2001/XMLSchema" xmlns:p="http://schemas.microsoft.com/office/2006/metadata/properties" xmlns:ns2="f83d32f4-ec49-44a5-af86-c22e26b8baae" xmlns:ns3="9fbd1c46-57fc-4e80-8e58-4cd2f8d5d020" targetNamespace="http://schemas.microsoft.com/office/2006/metadata/properties" ma:root="true" ma:fieldsID="f5c25c2472c48949a8ba104eb3aa1b5d" ns2:_="" ns3:_="">
    <xsd:import namespace="f83d32f4-ec49-44a5-af86-c22e26b8baae"/>
    <xsd:import namespace="9fbd1c46-57fc-4e80-8e58-4cd2f8d5d0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3d32f4-ec49-44a5-af86-c22e26b8ba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a7e612c9-6bc2-4732-acb5-216457acc343"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bd1c46-57fc-4e80-8e58-4cd2f8d5d020" elementFormDefault="qualified">
    <xsd:import namespace="http://schemas.microsoft.com/office/2006/documentManagement/types"/>
    <xsd:import namespace="http://schemas.microsoft.com/office/infopath/2007/PartnerControls"/>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B7755D-A8F0-4491-BEB4-E32F00043AC1}">
  <ds:schemaRefs>
    <ds:schemaRef ds:uri="http://schemas.microsoft.com/sharepoint/v3/contenttype/forms"/>
  </ds:schemaRefs>
</ds:datastoreItem>
</file>

<file path=customXml/itemProps2.xml><?xml version="1.0" encoding="utf-8"?>
<ds:datastoreItem xmlns:ds="http://schemas.openxmlformats.org/officeDocument/2006/customXml" ds:itemID="{4E21B286-A395-480F-812B-D3810D1663A3}">
  <ds:schemaRefs>
    <ds:schemaRef ds:uri="4b4507ac-2152-47fd-ae31-da93c9c906e7"/>
    <ds:schemaRef ds:uri="63c894c7-6532-495f-a4d7-18b81eed9ca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068B0D2-AB35-464A-86FF-DB1F9F440E56}"/>
</file>

<file path=docProps/app.xml><?xml version="1.0" encoding="utf-8"?>
<Properties xmlns="http://schemas.openxmlformats.org/officeDocument/2006/extended-properties" xmlns:vt="http://schemas.openxmlformats.org/officeDocument/2006/docPropsVTypes">
  <Template>PPTテンプレート_2021年版</Template>
  <TotalTime>175</TotalTime>
  <Words>3595</Words>
  <Application>Microsoft Office PowerPoint</Application>
  <PresentationFormat>A4 210 x 297 mm</PresentationFormat>
  <Paragraphs>705</Paragraphs>
  <Slides>25</Slides>
  <Notes>25</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5</vt:i4>
      </vt:variant>
    </vt:vector>
  </HeadingPairs>
  <TitlesOfParts>
    <vt:vector size="35" baseType="lpstr">
      <vt:lpstr>Yu Gothic UI</vt:lpstr>
      <vt:lpstr>Arial</vt:lpstr>
      <vt:lpstr>Calibri</vt:lpstr>
      <vt:lpstr>Calibri Light</vt:lpstr>
      <vt:lpstr>Open Sans</vt:lpstr>
      <vt:lpstr>Open Sans Semibold</vt:lpstr>
      <vt:lpstr>Verdana</vt:lpstr>
      <vt:lpstr>Wingdings</vt:lpstr>
      <vt:lpstr>DT Proposal Template_J_202007</vt:lpstr>
      <vt:lpstr>think-cell スライド</vt:lpstr>
      <vt:lpstr>PowerPoint プレゼンテーション</vt:lpstr>
      <vt:lpstr>目次</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Yagi, Riku</dc:creator>
  <cp:keywords>cf</cp:keywords>
  <cp:lastModifiedBy>Administrator</cp:lastModifiedBy>
  <cp:revision>1</cp:revision>
  <cp:lastPrinted>2023-05-11T09:13:07Z</cp:lastPrinted>
  <dcterms:created xsi:type="dcterms:W3CDTF">2021-02-22T07:47:59Z</dcterms:created>
  <dcterms:modified xsi:type="dcterms:W3CDTF">2023-07-03T04:4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13T01:31:1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7f183a0-1bc5-40d9-89e1-47d348c2e7cb</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E4C27B1B1ACD88468FD3E37DEC4DB111</vt:lpwstr>
  </property>
</Properties>
</file>